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4"/>
    <p:sldMasterId id="2147483683" r:id="rId5"/>
  </p:sldMasterIdLst>
  <p:notesMasterIdLst>
    <p:notesMasterId r:id="rId8"/>
  </p:notesMasterIdLst>
  <p:sldIdLst>
    <p:sldId id="1805" r:id="rId6"/>
    <p:sldId id="1806" r:id="rId7"/>
  </p:sldIdLst>
  <p:sldSz cx="6858000" cy="9906000" type="A4"/>
  <p:notesSz cx="6735763" cy="98663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既定のセクション" id="{D50CA93E-BEE8-4664-9FA5-1FD966BA8782}">
          <p14:sldIdLst/>
        </p14:section>
        <p14:section name="新制度" id="{B79257F7-E8D5-4420-8B12-BA20B489EE2F}">
          <p14:sldIdLst/>
        </p14:section>
        <p14:section name="旧制度" id="{564867D6-A8E2-42ED-A79C-E5458EF5AD3A}">
          <p14:sldIdLst>
            <p14:sldId id="1805"/>
            <p14:sldId id="180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0D3D48-C4A9-4517-93AA-0E2D39FAAE00}" v="176" dt="2025-01-20T07:30:05.586"/>
    <p1510:client id="{8FA67D32-A119-4575-85CC-3B30BD8C10D2}" v="99" dt="2025-01-20T07:39:17.1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8" d="100"/>
          <a:sy n="58" d="100"/>
        </p:scale>
        <p:origin x="2582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2" d="100"/>
          <a:sy n="62" d="100"/>
        </p:scale>
        <p:origin x="3250" y="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南 敦(MINAMI Atsushi)" userId="d3165040-e23c-45ef-af47-9418ec81b970" providerId="ADAL" clId="{D07F768C-E5F9-47B7-A9B7-6DDB89239B80}"/>
    <pc:docChg chg="undo custSel addSld delSld modSld sldOrd addSection delSection modSection">
      <pc:chgData name="南 敦(MINAMI Atsushi)" userId="d3165040-e23c-45ef-af47-9418ec81b970" providerId="ADAL" clId="{D07F768C-E5F9-47B7-A9B7-6DDB89239B80}" dt="2025-01-16T19:04:26.447" v="717" actId="20577"/>
      <pc:docMkLst>
        <pc:docMk/>
      </pc:docMkLst>
      <pc:sldChg chg="addSp delSp modSp add mod modClrScheme chgLayout">
        <pc:chgData name="南 敦(MINAMI Atsushi)" userId="d3165040-e23c-45ef-af47-9418ec81b970" providerId="ADAL" clId="{D07F768C-E5F9-47B7-A9B7-6DDB89239B80}" dt="2025-01-10T02:20:47.507" v="689" actId="20577"/>
        <pc:sldMkLst>
          <pc:docMk/>
          <pc:sldMk cId="1927059807" sldId="1764"/>
        </pc:sldMkLst>
        <pc:spChg chg="mod ord">
          <ac:chgData name="南 敦(MINAMI Atsushi)" userId="d3165040-e23c-45ef-af47-9418ec81b970" providerId="ADAL" clId="{D07F768C-E5F9-47B7-A9B7-6DDB89239B80}" dt="2025-01-09T17:37:03.761" v="581" actId="700"/>
          <ac:spMkLst>
            <pc:docMk/>
            <pc:sldMk cId="1927059807" sldId="1764"/>
            <ac:spMk id="5" creationId="{BE7313C8-2F30-4CC0-A171-28A0CD336245}"/>
          </ac:spMkLst>
        </pc:spChg>
        <pc:spChg chg="add del mod">
          <ac:chgData name="南 敦(MINAMI Atsushi)" userId="d3165040-e23c-45ef-af47-9418ec81b970" providerId="ADAL" clId="{D07F768C-E5F9-47B7-A9B7-6DDB89239B80}" dt="2025-01-09T17:24:22.785" v="380" actId="478"/>
          <ac:spMkLst>
            <pc:docMk/>
            <pc:sldMk cId="1927059807" sldId="1764"/>
            <ac:spMk id="9" creationId="{589D126C-B3A5-4BC7-F9D8-47A3A60DA746}"/>
          </ac:spMkLst>
        </pc:spChg>
        <pc:spChg chg="add del mod ord">
          <ac:chgData name="南 敦(MINAMI Atsushi)" userId="d3165040-e23c-45ef-af47-9418ec81b970" providerId="ADAL" clId="{D07F768C-E5F9-47B7-A9B7-6DDB89239B80}" dt="2025-01-09T17:31:24.186" v="501" actId="1076"/>
          <ac:spMkLst>
            <pc:docMk/>
            <pc:sldMk cId="1927059807" sldId="1764"/>
            <ac:spMk id="13" creationId="{C9D1F27F-4B0A-684E-8B2A-9709917657AA}"/>
          </ac:spMkLst>
        </pc:spChg>
        <pc:spChg chg="mod">
          <ac:chgData name="南 敦(MINAMI Atsushi)" userId="d3165040-e23c-45ef-af47-9418ec81b970" providerId="ADAL" clId="{D07F768C-E5F9-47B7-A9B7-6DDB89239B80}" dt="2025-01-10T02:20:47.507" v="689" actId="20577"/>
          <ac:spMkLst>
            <pc:docMk/>
            <pc:sldMk cId="1927059807" sldId="1764"/>
            <ac:spMk id="18" creationId="{045734C6-2283-9884-2A64-78EFE34E5FB9}"/>
          </ac:spMkLst>
        </pc:spChg>
        <pc:spChg chg="mod">
          <ac:chgData name="南 敦(MINAMI Atsushi)" userId="d3165040-e23c-45ef-af47-9418ec81b970" providerId="ADAL" clId="{D07F768C-E5F9-47B7-A9B7-6DDB89239B80}" dt="2025-01-09T17:17:17.043" v="305" actId="20577"/>
          <ac:spMkLst>
            <pc:docMk/>
            <pc:sldMk cId="1927059807" sldId="1764"/>
            <ac:spMk id="19" creationId="{F2A5B345-2BF3-1306-C701-19C71A83B96A}"/>
          </ac:spMkLst>
        </pc:spChg>
        <pc:spChg chg="mod">
          <ac:chgData name="南 敦(MINAMI Atsushi)" userId="d3165040-e23c-45ef-af47-9418ec81b970" providerId="ADAL" clId="{D07F768C-E5F9-47B7-A9B7-6DDB89239B80}" dt="2025-01-09T17:17:53.476" v="311" actId="20577"/>
          <ac:spMkLst>
            <pc:docMk/>
            <pc:sldMk cId="1927059807" sldId="1764"/>
            <ac:spMk id="21" creationId="{433C4577-EA22-DB12-2E98-B02340DD7E76}"/>
          </ac:spMkLst>
        </pc:spChg>
        <pc:graphicFrameChg chg="modGraphic">
          <ac:chgData name="南 敦(MINAMI Atsushi)" userId="d3165040-e23c-45ef-af47-9418ec81b970" providerId="ADAL" clId="{D07F768C-E5F9-47B7-A9B7-6DDB89239B80}" dt="2025-01-09T17:17:36.716" v="309" actId="20577"/>
          <ac:graphicFrameMkLst>
            <pc:docMk/>
            <pc:sldMk cId="1927059807" sldId="1764"/>
            <ac:graphicFrameMk id="2" creationId="{AC417C49-8970-3FBF-DACA-7F241776FB0E}"/>
          </ac:graphicFrameMkLst>
        </pc:graphicFrameChg>
      </pc:sldChg>
      <pc:sldChg chg="add del">
        <pc:chgData name="南 敦(MINAMI Atsushi)" userId="d3165040-e23c-45ef-af47-9418ec81b970" providerId="ADAL" clId="{D07F768C-E5F9-47B7-A9B7-6DDB89239B80}" dt="2025-01-09T17:14:03.710" v="261" actId="2696"/>
        <pc:sldMkLst>
          <pc:docMk/>
          <pc:sldMk cId="1003148262" sldId="1799"/>
        </pc:sldMkLst>
      </pc:sldChg>
      <pc:sldChg chg="delSp modSp add del mod ord">
        <pc:chgData name="南 敦(MINAMI Atsushi)" userId="d3165040-e23c-45ef-af47-9418ec81b970" providerId="ADAL" clId="{D07F768C-E5F9-47B7-A9B7-6DDB89239B80}" dt="2025-01-16T19:04:26.447" v="717" actId="20577"/>
        <pc:sldMkLst>
          <pc:docMk/>
          <pc:sldMk cId="786981567" sldId="1800"/>
        </pc:sldMkLst>
        <pc:spChg chg="del">
          <ac:chgData name="南 敦(MINAMI Atsushi)" userId="d3165040-e23c-45ef-af47-9418ec81b970" providerId="ADAL" clId="{D07F768C-E5F9-47B7-A9B7-6DDB89239B80}" dt="2025-01-16T16:41:54.901" v="690" actId="478"/>
          <ac:spMkLst>
            <pc:docMk/>
            <pc:sldMk cId="786981567" sldId="1800"/>
            <ac:spMk id="4" creationId="{12809128-2959-884E-4E45-A5144B64E61E}"/>
          </ac:spMkLst>
        </pc:spChg>
        <pc:spChg chg="mod">
          <ac:chgData name="南 敦(MINAMI Atsushi)" userId="d3165040-e23c-45ef-af47-9418ec81b970" providerId="ADAL" clId="{D07F768C-E5F9-47B7-A9B7-6DDB89239B80}" dt="2025-01-16T19:04:26.447" v="717" actId="20577"/>
          <ac:spMkLst>
            <pc:docMk/>
            <pc:sldMk cId="786981567" sldId="1800"/>
            <ac:spMk id="5" creationId="{81D1DB79-8583-A99E-540E-8CB4E3888F88}"/>
          </ac:spMkLst>
        </pc:spChg>
      </pc:sldChg>
      <pc:sldChg chg="modSp mod">
        <pc:chgData name="南 敦(MINAMI Atsushi)" userId="d3165040-e23c-45ef-af47-9418ec81b970" providerId="ADAL" clId="{D07F768C-E5F9-47B7-A9B7-6DDB89239B80}" dt="2025-01-09T17:29:33.436" v="468" actId="20577"/>
        <pc:sldMkLst>
          <pc:docMk/>
          <pc:sldMk cId="2174853723" sldId="1802"/>
        </pc:sldMkLst>
        <pc:spChg chg="mod">
          <ac:chgData name="南 敦(MINAMI Atsushi)" userId="d3165040-e23c-45ef-af47-9418ec81b970" providerId="ADAL" clId="{D07F768C-E5F9-47B7-A9B7-6DDB89239B80}" dt="2025-01-09T17:28:39.027" v="456" actId="1076"/>
          <ac:spMkLst>
            <pc:docMk/>
            <pc:sldMk cId="2174853723" sldId="1802"/>
            <ac:spMk id="15" creationId="{AB215C18-256D-7CEE-E7C8-D402A51CD974}"/>
          </ac:spMkLst>
        </pc:spChg>
        <pc:spChg chg="mod">
          <ac:chgData name="南 敦(MINAMI Atsushi)" userId="d3165040-e23c-45ef-af47-9418ec81b970" providerId="ADAL" clId="{D07F768C-E5F9-47B7-A9B7-6DDB89239B80}" dt="2025-01-09T17:29:33.436" v="468" actId="20577"/>
          <ac:spMkLst>
            <pc:docMk/>
            <pc:sldMk cId="2174853723" sldId="1802"/>
            <ac:spMk id="21" creationId="{1CE48F07-2263-E2AB-D2E2-821FF0157F73}"/>
          </ac:spMkLst>
        </pc:spChg>
        <pc:spChg chg="mod">
          <ac:chgData name="南 敦(MINAMI Atsushi)" userId="d3165040-e23c-45ef-af47-9418ec81b970" providerId="ADAL" clId="{D07F768C-E5F9-47B7-A9B7-6DDB89239B80}" dt="2025-01-09T17:28:55.773" v="459" actId="20577"/>
          <ac:spMkLst>
            <pc:docMk/>
            <pc:sldMk cId="2174853723" sldId="1802"/>
            <ac:spMk id="28" creationId="{D0A09A31-B145-CE29-6B63-3AE0379CE7ED}"/>
          </ac:spMkLst>
        </pc:spChg>
      </pc:sldChg>
      <pc:sldChg chg="delSp modSp add del mod">
        <pc:chgData name="南 敦(MINAMI Atsushi)" userId="d3165040-e23c-45ef-af47-9418ec81b970" providerId="ADAL" clId="{D07F768C-E5F9-47B7-A9B7-6DDB89239B80}" dt="2025-01-09T17:36:35.461" v="579" actId="2696"/>
        <pc:sldMkLst>
          <pc:docMk/>
          <pc:sldMk cId="620634248" sldId="1804"/>
        </pc:sldMkLst>
        <pc:spChg chg="mod">
          <ac:chgData name="南 敦(MINAMI Atsushi)" userId="d3165040-e23c-45ef-af47-9418ec81b970" providerId="ADAL" clId="{D07F768C-E5F9-47B7-A9B7-6DDB89239B80}" dt="2025-01-09T17:06:58.293" v="90" actId="1036"/>
          <ac:spMkLst>
            <pc:docMk/>
            <pc:sldMk cId="620634248" sldId="1804"/>
            <ac:spMk id="2" creationId="{5F2D8408-1CA6-F273-B2C3-DAE07E0C2F44}"/>
          </ac:spMkLst>
        </pc:spChg>
        <pc:spChg chg="del">
          <ac:chgData name="南 敦(MINAMI Atsushi)" userId="d3165040-e23c-45ef-af47-9418ec81b970" providerId="ADAL" clId="{D07F768C-E5F9-47B7-A9B7-6DDB89239B80}" dt="2025-01-09T17:04:42.878" v="6" actId="478"/>
          <ac:spMkLst>
            <pc:docMk/>
            <pc:sldMk cId="620634248" sldId="1804"/>
            <ac:spMk id="3" creationId="{13CF5F74-B0CC-0804-84B5-AA312627120F}"/>
          </ac:spMkLst>
        </pc:spChg>
        <pc:spChg chg="mod">
          <ac:chgData name="南 敦(MINAMI Atsushi)" userId="d3165040-e23c-45ef-af47-9418ec81b970" providerId="ADAL" clId="{D07F768C-E5F9-47B7-A9B7-6DDB89239B80}" dt="2025-01-09T17:12:49.626" v="248" actId="20577"/>
          <ac:spMkLst>
            <pc:docMk/>
            <pc:sldMk cId="620634248" sldId="1804"/>
            <ac:spMk id="5" creationId="{81D1DB79-8583-A99E-540E-8CB4E3888F88}"/>
          </ac:spMkLst>
        </pc:spChg>
      </pc:sldChg>
      <pc:sldChg chg="modSp add mod">
        <pc:chgData name="南 敦(MINAMI Atsushi)" userId="d3165040-e23c-45ef-af47-9418ec81b970" providerId="ADAL" clId="{D07F768C-E5F9-47B7-A9B7-6DDB89239B80}" dt="2025-01-09T17:19:27.517" v="313" actId="20577"/>
        <pc:sldMkLst>
          <pc:docMk/>
          <pc:sldMk cId="3494048592" sldId="1805"/>
        </pc:sldMkLst>
        <pc:graphicFrameChg chg="modGraphic">
          <ac:chgData name="南 敦(MINAMI Atsushi)" userId="d3165040-e23c-45ef-af47-9418ec81b970" providerId="ADAL" clId="{D07F768C-E5F9-47B7-A9B7-6DDB89239B80}" dt="2025-01-09T17:19:27.517" v="313" actId="20577"/>
          <ac:graphicFrameMkLst>
            <pc:docMk/>
            <pc:sldMk cId="3494048592" sldId="1805"/>
            <ac:graphicFrameMk id="8" creationId="{37C17ED4-31B5-BE1E-4D38-25AA300C4F1B}"/>
          </ac:graphicFrameMkLst>
        </pc:graphicFrameChg>
      </pc:sldChg>
      <pc:sldChg chg="addSp delSp modSp add mod">
        <pc:chgData name="南 敦(MINAMI Atsushi)" userId="d3165040-e23c-45ef-af47-9418ec81b970" providerId="ADAL" clId="{D07F768C-E5F9-47B7-A9B7-6DDB89239B80}" dt="2025-01-09T17:26:37.201" v="421" actId="14100"/>
        <pc:sldMkLst>
          <pc:docMk/>
          <pc:sldMk cId="1539400230" sldId="1806"/>
        </pc:sldMkLst>
        <pc:spChg chg="del">
          <ac:chgData name="南 敦(MINAMI Atsushi)" userId="d3165040-e23c-45ef-af47-9418ec81b970" providerId="ADAL" clId="{D07F768C-E5F9-47B7-A9B7-6DDB89239B80}" dt="2025-01-09T17:23:02.723" v="363" actId="478"/>
          <ac:spMkLst>
            <pc:docMk/>
            <pc:sldMk cId="1539400230" sldId="1806"/>
            <ac:spMk id="15" creationId="{AB215C18-256D-7CEE-E7C8-D402A51CD974}"/>
          </ac:spMkLst>
        </pc:spChg>
        <pc:spChg chg="add mod ord">
          <ac:chgData name="南 敦(MINAMI Atsushi)" userId="d3165040-e23c-45ef-af47-9418ec81b970" providerId="ADAL" clId="{D07F768C-E5F9-47B7-A9B7-6DDB89239B80}" dt="2025-01-09T17:26:37.201" v="421" actId="14100"/>
          <ac:spMkLst>
            <pc:docMk/>
            <pc:sldMk cId="1539400230" sldId="1806"/>
            <ac:spMk id="16" creationId="{5CCDF56A-7F17-7705-D560-EFADB4C3FC8E}"/>
          </ac:spMkLst>
        </pc:spChg>
        <pc:spChg chg="mod">
          <ac:chgData name="南 敦(MINAMI Atsushi)" userId="d3165040-e23c-45ef-af47-9418ec81b970" providerId="ADAL" clId="{D07F768C-E5F9-47B7-A9B7-6DDB89239B80}" dt="2025-01-09T17:20:09.932" v="334" actId="20577"/>
          <ac:spMkLst>
            <pc:docMk/>
            <pc:sldMk cId="1539400230" sldId="1806"/>
            <ac:spMk id="21" creationId="{1CE48F07-2263-E2AB-D2E2-821FF0157F73}"/>
          </ac:spMkLst>
        </pc:spChg>
        <pc:spChg chg="mod">
          <ac:chgData name="南 敦(MINAMI Atsushi)" userId="d3165040-e23c-45ef-af47-9418ec81b970" providerId="ADAL" clId="{D07F768C-E5F9-47B7-A9B7-6DDB89239B80}" dt="2025-01-09T17:19:51.782" v="322" actId="20577"/>
          <ac:spMkLst>
            <pc:docMk/>
            <pc:sldMk cId="1539400230" sldId="1806"/>
            <ac:spMk id="25" creationId="{6E42A63F-2890-CD55-BF86-10D64ABE91F0}"/>
          </ac:spMkLst>
        </pc:spChg>
        <pc:spChg chg="mod">
          <ac:chgData name="南 敦(MINAMI Atsushi)" userId="d3165040-e23c-45ef-af47-9418ec81b970" providerId="ADAL" clId="{D07F768C-E5F9-47B7-A9B7-6DDB89239B80}" dt="2025-01-09T17:20:19.721" v="337" actId="20577"/>
          <ac:spMkLst>
            <pc:docMk/>
            <pc:sldMk cId="1539400230" sldId="1806"/>
            <ac:spMk id="28" creationId="{D0A09A31-B145-CE29-6B63-3AE0379CE7ED}"/>
          </ac:spMkLst>
        </pc:spChg>
        <pc:graphicFrameChg chg="modGraphic">
          <ac:chgData name="南 敦(MINAMI Atsushi)" userId="d3165040-e23c-45ef-af47-9418ec81b970" providerId="ADAL" clId="{D07F768C-E5F9-47B7-A9B7-6DDB89239B80}" dt="2025-01-09T17:19:35.165" v="315" actId="20577"/>
          <ac:graphicFrameMkLst>
            <pc:docMk/>
            <pc:sldMk cId="1539400230" sldId="1806"/>
            <ac:graphicFrameMk id="8" creationId="{37C17ED4-31B5-BE1E-4D38-25AA300C4F1B}"/>
          </ac:graphicFrameMkLst>
        </pc:graphicFrameChg>
      </pc:sldChg>
      <pc:sldChg chg="modSp add mod">
        <pc:chgData name="南 敦(MINAMI Atsushi)" userId="d3165040-e23c-45ef-af47-9418ec81b970" providerId="ADAL" clId="{D07F768C-E5F9-47B7-A9B7-6DDB89239B80}" dt="2025-01-09T17:21:07.263" v="353" actId="20577"/>
        <pc:sldMkLst>
          <pc:docMk/>
          <pc:sldMk cId="3361803510" sldId="1807"/>
        </pc:sldMkLst>
        <pc:spChg chg="mod">
          <ac:chgData name="南 敦(MINAMI Atsushi)" userId="d3165040-e23c-45ef-af47-9418ec81b970" providerId="ADAL" clId="{D07F768C-E5F9-47B7-A9B7-6DDB89239B80}" dt="2025-01-09T17:21:07.263" v="353" actId="20577"/>
          <ac:spMkLst>
            <pc:docMk/>
            <pc:sldMk cId="3361803510" sldId="1807"/>
            <ac:spMk id="8" creationId="{D7FDF8F7-1165-88FF-2A7D-D571C1D4BFAE}"/>
          </ac:spMkLst>
        </pc:spChg>
      </pc:sldChg>
      <pc:sldChg chg="modSp add mod modClrScheme chgLayout">
        <pc:chgData name="南 敦(MINAMI Atsushi)" userId="d3165040-e23c-45ef-af47-9418ec81b970" providerId="ADAL" clId="{D07F768C-E5F9-47B7-A9B7-6DDB89239B80}" dt="2025-01-09T17:36:58.343" v="580" actId="700"/>
        <pc:sldMkLst>
          <pc:docMk/>
          <pc:sldMk cId="2260495983" sldId="1808"/>
        </pc:sldMkLst>
        <pc:spChg chg="mod ord">
          <ac:chgData name="南 敦(MINAMI Atsushi)" userId="d3165040-e23c-45ef-af47-9418ec81b970" providerId="ADAL" clId="{D07F768C-E5F9-47B7-A9B7-6DDB89239B80}" dt="2025-01-09T17:36:58.343" v="580" actId="700"/>
          <ac:spMkLst>
            <pc:docMk/>
            <pc:sldMk cId="2260495983" sldId="1808"/>
            <ac:spMk id="5" creationId="{BE7313C8-2F30-4CC0-A171-28A0CD336245}"/>
          </ac:spMkLst>
        </pc:spChg>
        <pc:graphicFrameChg chg="modGraphic">
          <ac:chgData name="南 敦(MINAMI Atsushi)" userId="d3165040-e23c-45ef-af47-9418ec81b970" providerId="ADAL" clId="{D07F768C-E5F9-47B7-A9B7-6DDB89239B80}" dt="2025-01-09T17:21:38.093" v="355" actId="20577"/>
          <ac:graphicFrameMkLst>
            <pc:docMk/>
            <pc:sldMk cId="2260495983" sldId="1808"/>
            <ac:graphicFrameMk id="2" creationId="{AC417C49-8970-3FBF-DACA-7F241776FB0E}"/>
          </ac:graphicFrameMkLst>
        </pc:graphicFrameChg>
      </pc:sldChg>
      <pc:sldChg chg="modSp add mod">
        <pc:chgData name="南 敦(MINAMI Atsushi)" userId="d3165040-e23c-45ef-af47-9418ec81b970" providerId="ADAL" clId="{D07F768C-E5F9-47B7-A9B7-6DDB89239B80}" dt="2025-01-10T02:20:20.758" v="680" actId="20577"/>
        <pc:sldMkLst>
          <pc:docMk/>
          <pc:sldMk cId="2538732313" sldId="1809"/>
        </pc:sldMkLst>
        <pc:spChg chg="mod">
          <ac:chgData name="南 敦(MINAMI Atsushi)" userId="d3165040-e23c-45ef-af47-9418ec81b970" providerId="ADAL" clId="{D07F768C-E5F9-47B7-A9B7-6DDB89239B80}" dt="2025-01-10T02:20:20.758" v="680" actId="20577"/>
          <ac:spMkLst>
            <pc:docMk/>
            <pc:sldMk cId="2538732313" sldId="1809"/>
            <ac:spMk id="8" creationId="{D7FDF8F7-1165-88FF-2A7D-D571C1D4BFAE}"/>
          </ac:spMkLst>
        </pc:spChg>
      </pc:sldChg>
      <pc:sldChg chg="add del">
        <pc:chgData name="南 敦(MINAMI Atsushi)" userId="d3165040-e23c-45ef-af47-9418ec81b970" providerId="ADAL" clId="{D07F768C-E5F9-47B7-A9B7-6DDB89239B80}" dt="2025-01-10T02:13:13.281" v="654" actId="2696"/>
        <pc:sldMkLst>
          <pc:docMk/>
          <pc:sldMk cId="246833147" sldId="1810"/>
        </pc:sldMkLst>
      </pc:sldChg>
    </pc:docChg>
  </pc:docChgLst>
  <pc:docChgLst>
    <pc:chgData name="澤村 僚(SAWAMURA Ryo)" userId="4cfe6057-f08c-4400-b030-3b1cc012e179" providerId="ADAL" clId="{090D3D48-C4A9-4517-93AA-0E2D39FAAE00}"/>
    <pc:docChg chg="undo redo custSel modSld">
      <pc:chgData name="澤村 僚(SAWAMURA Ryo)" userId="4cfe6057-f08c-4400-b030-3b1cc012e179" providerId="ADAL" clId="{090D3D48-C4A9-4517-93AA-0E2D39FAAE00}" dt="2025-01-20T07:30:05.586" v="183" actId="478"/>
      <pc:docMkLst>
        <pc:docMk/>
      </pc:docMkLst>
      <pc:sldChg chg="addSp delSp modSp mod">
        <pc:chgData name="澤村 僚(SAWAMURA Ryo)" userId="4cfe6057-f08c-4400-b030-3b1cc012e179" providerId="ADAL" clId="{090D3D48-C4A9-4517-93AA-0E2D39FAAE00}" dt="2025-01-20T07:20:49.066" v="68" actId="1076"/>
        <pc:sldMkLst>
          <pc:docMk/>
          <pc:sldMk cId="1927059807" sldId="1764"/>
        </pc:sldMkLst>
        <pc:spChg chg="del">
          <ac:chgData name="澤村 僚(SAWAMURA Ryo)" userId="4cfe6057-f08c-4400-b030-3b1cc012e179" providerId="ADAL" clId="{090D3D48-C4A9-4517-93AA-0E2D39FAAE00}" dt="2025-01-20T07:20:42.120" v="66" actId="478"/>
          <ac:spMkLst>
            <pc:docMk/>
            <pc:sldMk cId="1927059807" sldId="1764"/>
            <ac:spMk id="8" creationId="{A76E9A10-E5F7-2133-0C6B-CD464D80CBA2}"/>
          </ac:spMkLst>
        </pc:spChg>
        <pc:spChg chg="add mod">
          <ac:chgData name="澤村 僚(SAWAMURA Ryo)" userId="4cfe6057-f08c-4400-b030-3b1cc012e179" providerId="ADAL" clId="{090D3D48-C4A9-4517-93AA-0E2D39FAAE00}" dt="2025-01-20T07:20:42.717" v="67"/>
          <ac:spMkLst>
            <pc:docMk/>
            <pc:sldMk cId="1927059807" sldId="1764"/>
            <ac:spMk id="9" creationId="{C34CFFFC-59F1-4166-7993-F00FDDE9A706}"/>
          </ac:spMkLst>
        </pc:spChg>
        <pc:spChg chg="mod">
          <ac:chgData name="澤村 僚(SAWAMURA Ryo)" userId="4cfe6057-f08c-4400-b030-3b1cc012e179" providerId="ADAL" clId="{090D3D48-C4A9-4517-93AA-0E2D39FAAE00}" dt="2025-01-20T07:20:49.066" v="68" actId="1076"/>
          <ac:spMkLst>
            <pc:docMk/>
            <pc:sldMk cId="1927059807" sldId="1764"/>
            <ac:spMk id="25" creationId="{DB86792E-95F0-D2F1-E0C2-4C19F620CE9F}"/>
          </ac:spMkLst>
        </pc:spChg>
      </pc:sldChg>
      <pc:sldChg chg="modSp mod">
        <pc:chgData name="澤村 僚(SAWAMURA Ryo)" userId="4cfe6057-f08c-4400-b030-3b1cc012e179" providerId="ADAL" clId="{090D3D48-C4A9-4517-93AA-0E2D39FAAE00}" dt="2025-01-20T07:21:58.531" v="71" actId="6549"/>
        <pc:sldMkLst>
          <pc:docMk/>
          <pc:sldMk cId="786981567" sldId="1800"/>
        </pc:sldMkLst>
        <pc:spChg chg="mod">
          <ac:chgData name="澤村 僚(SAWAMURA Ryo)" userId="4cfe6057-f08c-4400-b030-3b1cc012e179" providerId="ADAL" clId="{090D3D48-C4A9-4517-93AA-0E2D39FAAE00}" dt="2025-01-17T06:22:07.851" v="7" actId="14100"/>
          <ac:spMkLst>
            <pc:docMk/>
            <pc:sldMk cId="786981567" sldId="1800"/>
            <ac:spMk id="2" creationId="{5F2D8408-1CA6-F273-B2C3-DAE07E0C2F44}"/>
          </ac:spMkLst>
        </pc:spChg>
        <pc:spChg chg="mod">
          <ac:chgData name="澤村 僚(SAWAMURA Ryo)" userId="4cfe6057-f08c-4400-b030-3b1cc012e179" providerId="ADAL" clId="{090D3D48-C4A9-4517-93AA-0E2D39FAAE00}" dt="2025-01-20T07:21:58.531" v="71" actId="6549"/>
          <ac:spMkLst>
            <pc:docMk/>
            <pc:sldMk cId="786981567" sldId="1800"/>
            <ac:spMk id="5" creationId="{81D1DB79-8583-A99E-540E-8CB4E3888F88}"/>
          </ac:spMkLst>
        </pc:spChg>
      </pc:sldChg>
      <pc:sldChg chg="modSp mod">
        <pc:chgData name="澤村 僚(SAWAMURA Ryo)" userId="4cfe6057-f08c-4400-b030-3b1cc012e179" providerId="ADAL" clId="{090D3D48-C4A9-4517-93AA-0E2D39FAAE00}" dt="2025-01-20T07:25:42.990" v="170" actId="20577"/>
        <pc:sldMkLst>
          <pc:docMk/>
          <pc:sldMk cId="2174853723" sldId="1802"/>
        </pc:sldMkLst>
        <pc:spChg chg="mod">
          <ac:chgData name="澤村 僚(SAWAMURA Ryo)" userId="4cfe6057-f08c-4400-b030-3b1cc012e179" providerId="ADAL" clId="{090D3D48-C4A9-4517-93AA-0E2D39FAAE00}" dt="2025-01-20T07:05:43.098" v="8" actId="122"/>
          <ac:spMkLst>
            <pc:docMk/>
            <pc:sldMk cId="2174853723" sldId="1802"/>
            <ac:spMk id="15" creationId="{AB215C18-256D-7CEE-E7C8-D402A51CD974}"/>
          </ac:spMkLst>
        </pc:spChg>
        <pc:spChg chg="mod">
          <ac:chgData name="澤村 僚(SAWAMURA Ryo)" userId="4cfe6057-f08c-4400-b030-3b1cc012e179" providerId="ADAL" clId="{090D3D48-C4A9-4517-93AA-0E2D39FAAE00}" dt="2025-01-20T07:25:42.990" v="170" actId="20577"/>
          <ac:spMkLst>
            <pc:docMk/>
            <pc:sldMk cId="2174853723" sldId="1802"/>
            <ac:spMk id="23" creationId="{E4C1C023-A7F7-8307-3383-F4CAF1FF2658}"/>
          </ac:spMkLst>
        </pc:spChg>
      </pc:sldChg>
      <pc:sldChg chg="addSp delSp modSp mod">
        <pc:chgData name="澤村 僚(SAWAMURA Ryo)" userId="4cfe6057-f08c-4400-b030-3b1cc012e179" providerId="ADAL" clId="{090D3D48-C4A9-4517-93AA-0E2D39FAAE00}" dt="2025-01-20T07:26:11.695" v="172"/>
        <pc:sldMkLst>
          <pc:docMk/>
          <pc:sldMk cId="3494048592" sldId="1805"/>
        </pc:sldMkLst>
        <pc:spChg chg="add mod">
          <ac:chgData name="澤村 僚(SAWAMURA Ryo)" userId="4cfe6057-f08c-4400-b030-3b1cc012e179" providerId="ADAL" clId="{090D3D48-C4A9-4517-93AA-0E2D39FAAE00}" dt="2025-01-20T07:26:11.695" v="172"/>
          <ac:spMkLst>
            <pc:docMk/>
            <pc:sldMk cId="3494048592" sldId="1805"/>
            <ac:spMk id="2" creationId="{05D41C09-2FB2-3933-3331-A6DFDFD0619F}"/>
          </ac:spMkLst>
        </pc:spChg>
        <pc:spChg chg="del">
          <ac:chgData name="澤村 僚(SAWAMURA Ryo)" userId="4cfe6057-f08c-4400-b030-3b1cc012e179" providerId="ADAL" clId="{090D3D48-C4A9-4517-93AA-0E2D39FAAE00}" dt="2025-01-20T07:26:10.753" v="171" actId="478"/>
          <ac:spMkLst>
            <pc:docMk/>
            <pc:sldMk cId="3494048592" sldId="1805"/>
            <ac:spMk id="23" creationId="{E4C1C023-A7F7-8307-3383-F4CAF1FF2658}"/>
          </ac:spMkLst>
        </pc:spChg>
      </pc:sldChg>
      <pc:sldChg chg="modSp mod">
        <pc:chgData name="澤村 僚(SAWAMURA Ryo)" userId="4cfe6057-f08c-4400-b030-3b1cc012e179" providerId="ADAL" clId="{090D3D48-C4A9-4517-93AA-0E2D39FAAE00}" dt="2025-01-20T07:16:48.651" v="18" actId="120"/>
        <pc:sldMkLst>
          <pc:docMk/>
          <pc:sldMk cId="1539400230" sldId="1806"/>
        </pc:sldMkLst>
        <pc:spChg chg="mod">
          <ac:chgData name="澤村 僚(SAWAMURA Ryo)" userId="4cfe6057-f08c-4400-b030-3b1cc012e179" providerId="ADAL" clId="{090D3D48-C4A9-4517-93AA-0E2D39FAAE00}" dt="2025-01-20T07:16:48.651" v="18" actId="120"/>
          <ac:spMkLst>
            <pc:docMk/>
            <pc:sldMk cId="1539400230" sldId="1806"/>
            <ac:spMk id="16" creationId="{5CCDF56A-7F17-7705-D560-EFADB4C3FC8E}"/>
          </ac:spMkLst>
        </pc:spChg>
      </pc:sldChg>
      <pc:sldChg chg="modSp mod">
        <pc:chgData name="澤村 僚(SAWAMURA Ryo)" userId="4cfe6057-f08c-4400-b030-3b1cc012e179" providerId="ADAL" clId="{090D3D48-C4A9-4517-93AA-0E2D39FAAE00}" dt="2025-01-20T07:20:18.889" v="65" actId="14100"/>
        <pc:sldMkLst>
          <pc:docMk/>
          <pc:sldMk cId="2260495983" sldId="1808"/>
        </pc:sldMkLst>
        <pc:spChg chg="mod">
          <ac:chgData name="澤村 僚(SAWAMURA Ryo)" userId="4cfe6057-f08c-4400-b030-3b1cc012e179" providerId="ADAL" clId="{090D3D48-C4A9-4517-93AA-0E2D39FAAE00}" dt="2025-01-20T07:20:18.889" v="65" actId="14100"/>
          <ac:spMkLst>
            <pc:docMk/>
            <pc:sldMk cId="2260495983" sldId="1808"/>
            <ac:spMk id="8" creationId="{A76E9A10-E5F7-2133-0C6B-CD464D80CBA2}"/>
          </ac:spMkLst>
        </pc:spChg>
        <pc:graphicFrameChg chg="modGraphic">
          <ac:chgData name="澤村 僚(SAWAMURA Ryo)" userId="4cfe6057-f08c-4400-b030-3b1cc012e179" providerId="ADAL" clId="{090D3D48-C4A9-4517-93AA-0E2D39FAAE00}" dt="2025-01-20T07:16:03.859" v="13" actId="20577"/>
          <ac:graphicFrameMkLst>
            <pc:docMk/>
            <pc:sldMk cId="2260495983" sldId="1808"/>
            <ac:graphicFrameMk id="2" creationId="{AC417C49-8970-3FBF-DACA-7F241776FB0E}"/>
          </ac:graphicFrameMkLst>
        </pc:graphicFrameChg>
      </pc:sldChg>
      <pc:sldChg chg="addSp delSp modSp mod">
        <pc:chgData name="澤村 僚(SAWAMURA Ryo)" userId="4cfe6057-f08c-4400-b030-3b1cc012e179" providerId="ADAL" clId="{090D3D48-C4A9-4517-93AA-0E2D39FAAE00}" dt="2025-01-20T07:30:05.586" v="183" actId="478"/>
        <pc:sldMkLst>
          <pc:docMk/>
          <pc:sldMk cId="2538732313" sldId="1809"/>
        </pc:sldMkLst>
        <pc:spChg chg="add mod">
          <ac:chgData name="澤村 僚(SAWAMURA Ryo)" userId="4cfe6057-f08c-4400-b030-3b1cc012e179" providerId="ADAL" clId="{090D3D48-C4A9-4517-93AA-0E2D39FAAE00}" dt="2025-01-20T07:20:53.696" v="70"/>
          <ac:spMkLst>
            <pc:docMk/>
            <pc:sldMk cId="2538732313" sldId="1809"/>
            <ac:spMk id="3" creationId="{36697177-543F-D3B7-CBA7-027BE213F6F1}"/>
          </ac:spMkLst>
        </pc:spChg>
        <pc:spChg chg="add del mod">
          <ac:chgData name="澤村 僚(SAWAMURA Ryo)" userId="4cfe6057-f08c-4400-b030-3b1cc012e179" providerId="ADAL" clId="{090D3D48-C4A9-4517-93AA-0E2D39FAAE00}" dt="2025-01-20T07:29:44.043" v="177" actId="478"/>
          <ac:spMkLst>
            <pc:docMk/>
            <pc:sldMk cId="2538732313" sldId="1809"/>
            <ac:spMk id="5" creationId="{22D76912-E646-409F-B970-4E3D69CAB090}"/>
          </ac:spMkLst>
        </pc:spChg>
        <pc:spChg chg="mod ord">
          <ac:chgData name="澤村 僚(SAWAMURA Ryo)" userId="4cfe6057-f08c-4400-b030-3b1cc012e179" providerId="ADAL" clId="{090D3D48-C4A9-4517-93AA-0E2D39FAAE00}" dt="2025-01-20T07:30:03.505" v="182" actId="14100"/>
          <ac:spMkLst>
            <pc:docMk/>
            <pc:sldMk cId="2538732313" sldId="1809"/>
            <ac:spMk id="10" creationId="{E0B7F90D-41B6-9999-3DDD-7F90D5796ACB}"/>
          </ac:spMkLst>
        </pc:spChg>
        <pc:spChg chg="del">
          <ac:chgData name="澤村 僚(SAWAMURA Ryo)" userId="4cfe6057-f08c-4400-b030-3b1cc012e179" providerId="ADAL" clId="{090D3D48-C4A9-4517-93AA-0E2D39FAAE00}" dt="2025-01-20T07:20:53.193" v="69" actId="478"/>
          <ac:spMkLst>
            <pc:docMk/>
            <pc:sldMk cId="2538732313" sldId="1809"/>
            <ac:spMk id="12" creationId="{F4B5D129-9A3E-7018-EF66-BABC8407D440}"/>
          </ac:spMkLst>
        </pc:spChg>
        <pc:picChg chg="add mod">
          <ac:chgData name="澤村 僚(SAWAMURA Ryo)" userId="4cfe6057-f08c-4400-b030-3b1cc012e179" providerId="ADAL" clId="{090D3D48-C4A9-4517-93AA-0E2D39FAAE00}" dt="2025-01-20T07:29:48.236" v="178" actId="1076"/>
          <ac:picMkLst>
            <pc:docMk/>
            <pc:sldMk cId="2538732313" sldId="1809"/>
            <ac:picMk id="4" creationId="{45BCDCE4-6F41-48FD-BB89-270D69A982FA}"/>
          </ac:picMkLst>
        </pc:picChg>
        <pc:picChg chg="del mod">
          <ac:chgData name="澤村 僚(SAWAMURA Ryo)" userId="4cfe6057-f08c-4400-b030-3b1cc012e179" providerId="ADAL" clId="{090D3D48-C4A9-4517-93AA-0E2D39FAAE00}" dt="2025-01-20T07:30:05.586" v="183" actId="478"/>
          <ac:picMkLst>
            <pc:docMk/>
            <pc:sldMk cId="2538732313" sldId="1809"/>
            <ac:picMk id="9" creationId="{E01DB259-E313-9794-669F-73279F11009F}"/>
          </ac:picMkLst>
        </pc:picChg>
      </pc:sldChg>
    </pc:docChg>
  </pc:docChgLst>
  <pc:docChgLst>
    <pc:chgData name="南 敦(MINAMI Atsushi)" userId="d3165040-e23c-45ef-af47-9418ec81b970" providerId="ADAL" clId="{90CFA07F-E5B3-4888-93A7-C87228327420}"/>
    <pc:docChg chg="undo custSel modSld">
      <pc:chgData name="南 敦(MINAMI Atsushi)" userId="d3165040-e23c-45ef-af47-9418ec81b970" providerId="ADAL" clId="{90CFA07F-E5B3-4888-93A7-C87228327420}" dt="2024-12-18T08:56:13.554" v="2619" actId="20577"/>
      <pc:docMkLst>
        <pc:docMk/>
      </pc:docMkLst>
      <pc:sldChg chg="addSp delSp modSp mod">
        <pc:chgData name="南 敦(MINAMI Atsushi)" userId="d3165040-e23c-45ef-af47-9418ec81b970" providerId="ADAL" clId="{90CFA07F-E5B3-4888-93A7-C87228327420}" dt="2024-12-18T03:50:23.375" v="938" actId="478"/>
        <pc:sldMkLst>
          <pc:docMk/>
          <pc:sldMk cId="786981567" sldId="1800"/>
        </pc:sldMkLst>
        <pc:spChg chg="mod">
          <ac:chgData name="南 敦(MINAMI Atsushi)" userId="d3165040-e23c-45ef-af47-9418ec81b970" providerId="ADAL" clId="{90CFA07F-E5B3-4888-93A7-C87228327420}" dt="2024-12-18T03:03:30.277" v="32" actId="20577"/>
          <ac:spMkLst>
            <pc:docMk/>
            <pc:sldMk cId="786981567" sldId="1800"/>
            <ac:spMk id="2" creationId="{5F2D8408-1CA6-F273-B2C3-DAE07E0C2F44}"/>
          </ac:spMkLst>
        </pc:spChg>
        <pc:spChg chg="mod">
          <ac:chgData name="南 敦(MINAMI Atsushi)" userId="d3165040-e23c-45ef-af47-9418ec81b970" providerId="ADAL" clId="{90CFA07F-E5B3-4888-93A7-C87228327420}" dt="2024-12-18T03:03:34.615" v="39" actId="20577"/>
          <ac:spMkLst>
            <pc:docMk/>
            <pc:sldMk cId="786981567" sldId="1800"/>
            <ac:spMk id="3" creationId="{13CF5F74-B0CC-0804-84B5-AA312627120F}"/>
          </ac:spMkLst>
        </pc:spChg>
        <pc:spChg chg="add del mod">
          <ac:chgData name="南 敦(MINAMI Atsushi)" userId="d3165040-e23c-45ef-af47-9418ec81b970" providerId="ADAL" clId="{90CFA07F-E5B3-4888-93A7-C87228327420}" dt="2024-12-18T03:50:23.375" v="938" actId="478"/>
          <ac:spMkLst>
            <pc:docMk/>
            <pc:sldMk cId="786981567" sldId="1800"/>
            <ac:spMk id="4" creationId="{4DB9B580-14CF-685F-BC2D-535B73D9F951}"/>
          </ac:spMkLst>
        </pc:spChg>
        <pc:spChg chg="mod">
          <ac:chgData name="南 敦(MINAMI Atsushi)" userId="d3165040-e23c-45ef-af47-9418ec81b970" providerId="ADAL" clId="{90CFA07F-E5B3-4888-93A7-C87228327420}" dt="2024-12-18T03:50:18.647" v="937" actId="20577"/>
          <ac:spMkLst>
            <pc:docMk/>
            <pc:sldMk cId="786981567" sldId="1800"/>
            <ac:spMk id="5" creationId="{81D1DB79-8583-A99E-540E-8CB4E3888F88}"/>
          </ac:spMkLst>
        </pc:spChg>
      </pc:sldChg>
      <pc:sldChg chg="modSp mod">
        <pc:chgData name="南 敦(MINAMI Atsushi)" userId="d3165040-e23c-45ef-af47-9418ec81b970" providerId="ADAL" clId="{90CFA07F-E5B3-4888-93A7-C87228327420}" dt="2024-12-18T08:56:02.514" v="2615" actId="20577"/>
        <pc:sldMkLst>
          <pc:docMk/>
          <pc:sldMk cId="1731062681" sldId="1801"/>
        </pc:sldMkLst>
        <pc:spChg chg="mod">
          <ac:chgData name="南 敦(MINAMI Atsushi)" userId="d3165040-e23c-45ef-af47-9418ec81b970" providerId="ADAL" clId="{90CFA07F-E5B3-4888-93A7-C87228327420}" dt="2024-12-18T03:14:49.506" v="735" actId="1076"/>
          <ac:spMkLst>
            <pc:docMk/>
            <pc:sldMk cId="1731062681" sldId="1801"/>
            <ac:spMk id="10" creationId="{35543A15-5B1D-8CB3-2CC6-E1EA7F2D4B43}"/>
          </ac:spMkLst>
        </pc:spChg>
        <pc:graphicFrameChg chg="mod modGraphic">
          <ac:chgData name="南 敦(MINAMI Atsushi)" userId="d3165040-e23c-45ef-af47-9418ec81b970" providerId="ADAL" clId="{90CFA07F-E5B3-4888-93A7-C87228327420}" dt="2024-12-18T08:56:02.514" v="2615" actId="20577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  <pc:sldChg chg="modSp mod">
        <pc:chgData name="南 敦(MINAMI Atsushi)" userId="d3165040-e23c-45ef-af47-9418ec81b970" providerId="ADAL" clId="{90CFA07F-E5B3-4888-93A7-C87228327420}" dt="2024-12-18T08:56:13.554" v="2619" actId="20577"/>
        <pc:sldMkLst>
          <pc:docMk/>
          <pc:sldMk cId="2174853723" sldId="1802"/>
        </pc:sldMkLst>
        <pc:spChg chg="mod">
          <ac:chgData name="南 敦(MINAMI Atsushi)" userId="d3165040-e23c-45ef-af47-9418ec81b970" providerId="ADAL" clId="{90CFA07F-E5B3-4888-93A7-C87228327420}" dt="2024-12-18T08:55:14.897" v="2600" actId="14100"/>
          <ac:spMkLst>
            <pc:docMk/>
            <pc:sldMk cId="2174853723" sldId="1802"/>
            <ac:spMk id="3" creationId="{C8A3523E-49B5-64AD-925C-2E71989F6FC8}"/>
          </ac:spMkLst>
        </pc:spChg>
        <pc:spChg chg="mod">
          <ac:chgData name="南 敦(MINAMI Atsushi)" userId="d3165040-e23c-45ef-af47-9418ec81b970" providerId="ADAL" clId="{90CFA07F-E5B3-4888-93A7-C87228327420}" dt="2024-12-18T08:55:08.092" v="2599" actId="1036"/>
          <ac:spMkLst>
            <pc:docMk/>
            <pc:sldMk cId="2174853723" sldId="1802"/>
            <ac:spMk id="4" creationId="{79F07E1F-BD8A-6EF9-8286-94C1A647960B}"/>
          </ac:spMkLst>
        </pc:spChg>
        <pc:spChg chg="mod">
          <ac:chgData name="南 敦(MINAMI Atsushi)" userId="d3165040-e23c-45ef-af47-9418ec81b970" providerId="ADAL" clId="{90CFA07F-E5B3-4888-93A7-C87228327420}" dt="2024-12-18T08:55:19.865" v="2606" actId="1036"/>
          <ac:spMkLst>
            <pc:docMk/>
            <pc:sldMk cId="2174853723" sldId="1802"/>
            <ac:spMk id="7" creationId="{3FB4849D-60FC-271F-FD2C-2270B52FDA46}"/>
          </ac:spMkLst>
        </pc:spChg>
        <pc:spChg chg="mod">
          <ac:chgData name="南 敦(MINAMI Atsushi)" userId="d3165040-e23c-45ef-af47-9418ec81b970" providerId="ADAL" clId="{90CFA07F-E5B3-4888-93A7-C87228327420}" dt="2024-12-18T08:54:53.501" v="2590" actId="1036"/>
          <ac:spMkLst>
            <pc:docMk/>
            <pc:sldMk cId="2174853723" sldId="1802"/>
            <ac:spMk id="9" creationId="{4EF196C3-6C2F-EAEC-23CC-6D7341178A1C}"/>
          </ac:spMkLst>
        </pc:spChg>
        <pc:spChg chg="mod">
          <ac:chgData name="南 敦(MINAMI Atsushi)" userId="d3165040-e23c-45ef-af47-9418ec81b970" providerId="ADAL" clId="{90CFA07F-E5B3-4888-93A7-C87228327420}" dt="2024-12-18T08:55:24.043" v="2611" actId="1036"/>
          <ac:spMkLst>
            <pc:docMk/>
            <pc:sldMk cId="2174853723" sldId="1802"/>
            <ac:spMk id="11" creationId="{6BE75387-9B28-51BA-42FE-14811FC58A67}"/>
          </ac:spMkLst>
        </pc:spChg>
        <pc:graphicFrameChg chg="mod modGraphic">
          <ac:chgData name="南 敦(MINAMI Atsushi)" userId="d3165040-e23c-45ef-af47-9418ec81b970" providerId="ADAL" clId="{90CFA07F-E5B3-4888-93A7-C87228327420}" dt="2024-12-18T08:56:13.554" v="2619" actId="20577"/>
          <ac:graphicFrameMkLst>
            <pc:docMk/>
            <pc:sldMk cId="2174853723" sldId="1802"/>
            <ac:graphicFrameMk id="16" creationId="{4328BA06-C622-B011-947E-DCBE5C9ECD51}"/>
          </ac:graphicFrameMkLst>
        </pc:graphicFrameChg>
      </pc:sldChg>
      <pc:sldChg chg="modSp mod">
        <pc:chgData name="南 敦(MINAMI Atsushi)" userId="d3165040-e23c-45ef-af47-9418ec81b970" providerId="ADAL" clId="{90CFA07F-E5B3-4888-93A7-C87228327420}" dt="2024-12-18T04:08:36.882" v="965" actId="20577"/>
        <pc:sldMkLst>
          <pc:docMk/>
          <pc:sldMk cId="4155459258" sldId="1803"/>
        </pc:sldMkLst>
        <pc:spChg chg="mod">
          <ac:chgData name="南 敦(MINAMI Atsushi)" userId="d3165040-e23c-45ef-af47-9418ec81b970" providerId="ADAL" clId="{90CFA07F-E5B3-4888-93A7-C87228327420}" dt="2024-12-18T04:08:06.130" v="951" actId="20577"/>
          <ac:spMkLst>
            <pc:docMk/>
            <pc:sldMk cId="4155459258" sldId="1803"/>
            <ac:spMk id="8" creationId="{D7FDF8F7-1165-88FF-2A7D-D571C1D4BFAE}"/>
          </ac:spMkLst>
        </pc:spChg>
        <pc:graphicFrameChg chg="modGraphic">
          <ac:chgData name="南 敦(MINAMI Atsushi)" userId="d3165040-e23c-45ef-af47-9418ec81b970" providerId="ADAL" clId="{90CFA07F-E5B3-4888-93A7-C87228327420}" dt="2024-12-18T04:08:36.882" v="965" actId="20577"/>
          <ac:graphicFrameMkLst>
            <pc:docMk/>
            <pc:sldMk cId="4155459258" sldId="1803"/>
            <ac:graphicFrameMk id="11" creationId="{ACF7D667-AD41-DFCA-B65A-E63FABE01CF7}"/>
          </ac:graphicFrameMkLst>
        </pc:graphicFrameChg>
      </pc:sldChg>
    </pc:docChg>
  </pc:docChgLst>
  <pc:docChgLst>
    <pc:chgData name="青山 大介(AOYAMA Daisuke)" userId="62e5c414-f8d4-431e-801f-75ea3be37d37" providerId="ADAL" clId="{9E185482-EDA2-424D-97B1-CFF725EDFC3E}"/>
    <pc:docChg chg="undo custSel modSld">
      <pc:chgData name="青山 大介(AOYAMA Daisuke)" userId="62e5c414-f8d4-431e-801f-75ea3be37d37" providerId="ADAL" clId="{9E185482-EDA2-424D-97B1-CFF725EDFC3E}" dt="2024-12-25T04:54:50.699" v="553" actId="1076"/>
      <pc:docMkLst>
        <pc:docMk/>
      </pc:docMkLst>
      <pc:sldChg chg="modSp mod">
        <pc:chgData name="青山 大介(AOYAMA Daisuke)" userId="62e5c414-f8d4-431e-801f-75ea3be37d37" providerId="ADAL" clId="{9E185482-EDA2-424D-97B1-CFF725EDFC3E}" dt="2024-12-18T03:16:05.484" v="105" actId="20577"/>
        <pc:sldMkLst>
          <pc:docMk/>
          <pc:sldMk cId="786981567" sldId="1800"/>
        </pc:sldMkLst>
        <pc:spChg chg="mod">
          <ac:chgData name="青山 大介(AOYAMA Daisuke)" userId="62e5c414-f8d4-431e-801f-75ea3be37d37" providerId="ADAL" clId="{9E185482-EDA2-424D-97B1-CFF725EDFC3E}" dt="2024-12-18T03:16:05.484" v="105" actId="20577"/>
          <ac:spMkLst>
            <pc:docMk/>
            <pc:sldMk cId="786981567" sldId="1800"/>
            <ac:spMk id="5" creationId="{81D1DB79-8583-A99E-540E-8CB4E3888F88}"/>
          </ac:spMkLst>
        </pc:spChg>
      </pc:sldChg>
      <pc:sldChg chg="modSp mod">
        <pc:chgData name="青山 大介(AOYAMA Daisuke)" userId="62e5c414-f8d4-431e-801f-75ea3be37d37" providerId="ADAL" clId="{9E185482-EDA2-424D-97B1-CFF725EDFC3E}" dt="2024-12-18T03:38:47.960" v="267" actId="20577"/>
        <pc:sldMkLst>
          <pc:docMk/>
          <pc:sldMk cId="1731062681" sldId="1801"/>
        </pc:sldMkLst>
        <pc:graphicFrameChg chg="mod modGraphic">
          <ac:chgData name="青山 大介(AOYAMA Daisuke)" userId="62e5c414-f8d4-431e-801f-75ea3be37d37" providerId="ADAL" clId="{9E185482-EDA2-424D-97B1-CFF725EDFC3E}" dt="2024-12-18T03:38:47.960" v="267" actId="20577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  <pc:sldChg chg="addSp delSp modSp mod">
        <pc:chgData name="青山 大介(AOYAMA Daisuke)" userId="62e5c414-f8d4-431e-801f-75ea3be37d37" providerId="ADAL" clId="{9E185482-EDA2-424D-97B1-CFF725EDFC3E}" dt="2024-12-25T04:54:50.699" v="553" actId="1076"/>
        <pc:sldMkLst>
          <pc:docMk/>
          <pc:sldMk cId="2174853723" sldId="1802"/>
        </pc:sldMkLst>
        <pc:spChg chg="del">
          <ac:chgData name="青山 大介(AOYAMA Daisuke)" userId="62e5c414-f8d4-431e-801f-75ea3be37d37" providerId="ADAL" clId="{9E185482-EDA2-424D-97B1-CFF725EDFC3E}" dt="2024-12-18T03:14:41.471" v="87" actId="478"/>
          <ac:spMkLst>
            <pc:docMk/>
            <pc:sldMk cId="2174853723" sldId="1802"/>
            <ac:spMk id="10" creationId="{35543A15-5B1D-8CB3-2CC6-E1EA7F2D4B43}"/>
          </ac:spMkLst>
        </pc:spChg>
        <pc:spChg chg="add mod">
          <ac:chgData name="青山 大介(AOYAMA Daisuke)" userId="62e5c414-f8d4-431e-801f-75ea3be37d37" providerId="ADAL" clId="{9E185482-EDA2-424D-97B1-CFF725EDFC3E}" dt="2024-12-25T04:54:50.699" v="553" actId="1076"/>
          <ac:spMkLst>
            <pc:docMk/>
            <pc:sldMk cId="2174853723" sldId="1802"/>
            <ac:spMk id="10" creationId="{AE83D439-A02B-2203-E29F-63C55A204C31}"/>
          </ac:spMkLst>
        </pc:spChg>
        <pc:spChg chg="mod">
          <ac:chgData name="青山 大介(AOYAMA Daisuke)" userId="62e5c414-f8d4-431e-801f-75ea3be37d37" providerId="ADAL" clId="{9E185482-EDA2-424D-97B1-CFF725EDFC3E}" dt="2024-12-18T03:44:03.321" v="520" actId="1076"/>
          <ac:spMkLst>
            <pc:docMk/>
            <pc:sldMk cId="2174853723" sldId="1802"/>
            <ac:spMk id="14" creationId="{335D6C43-1401-4A58-26FF-C604454F13FF}"/>
          </ac:spMkLst>
        </pc:spChg>
        <pc:spChg chg="mod">
          <ac:chgData name="青山 大介(AOYAMA Daisuke)" userId="62e5c414-f8d4-431e-801f-75ea3be37d37" providerId="ADAL" clId="{9E185482-EDA2-424D-97B1-CFF725EDFC3E}" dt="2024-12-18T03:43:57.380" v="519" actId="1076"/>
          <ac:spMkLst>
            <pc:docMk/>
            <pc:sldMk cId="2174853723" sldId="1802"/>
            <ac:spMk id="15" creationId="{AB215C18-256D-7CEE-E7C8-D402A51CD974}"/>
          </ac:spMkLst>
        </pc:spChg>
        <pc:spChg chg="mod">
          <ac:chgData name="青山 大介(AOYAMA Daisuke)" userId="62e5c414-f8d4-431e-801f-75ea3be37d37" providerId="ADAL" clId="{9E185482-EDA2-424D-97B1-CFF725EDFC3E}" dt="2024-12-18T03:41:57.775" v="439" actId="179"/>
          <ac:spMkLst>
            <pc:docMk/>
            <pc:sldMk cId="2174853723" sldId="1802"/>
            <ac:spMk id="21" creationId="{1CE48F07-2263-E2AB-D2E2-821FF0157F73}"/>
          </ac:spMkLst>
        </pc:spChg>
        <pc:spChg chg="mod">
          <ac:chgData name="青山 大介(AOYAMA Daisuke)" userId="62e5c414-f8d4-431e-801f-75ea3be37d37" providerId="ADAL" clId="{9E185482-EDA2-424D-97B1-CFF725EDFC3E}" dt="2024-12-25T04:47:49.935" v="526" actId="20577"/>
          <ac:spMkLst>
            <pc:docMk/>
            <pc:sldMk cId="2174853723" sldId="1802"/>
            <ac:spMk id="25" creationId="{6E42A63F-2890-CD55-BF86-10D64ABE91F0}"/>
          </ac:spMkLst>
        </pc:spChg>
        <pc:graphicFrameChg chg="del modGraphic">
          <ac:chgData name="青山 大介(AOYAMA Daisuke)" userId="62e5c414-f8d4-431e-801f-75ea3be37d37" providerId="ADAL" clId="{9E185482-EDA2-424D-97B1-CFF725EDFC3E}" dt="2024-12-18T03:39:26.260" v="270" actId="478"/>
          <ac:graphicFrameMkLst>
            <pc:docMk/>
            <pc:sldMk cId="2174853723" sldId="1802"/>
            <ac:graphicFrameMk id="8" creationId="{37C17ED4-31B5-BE1E-4D38-25AA300C4F1B}"/>
          </ac:graphicFrameMkLst>
        </pc:graphicFrameChg>
        <pc:graphicFrameChg chg="add mod ord">
          <ac:chgData name="青山 大介(AOYAMA Daisuke)" userId="62e5c414-f8d4-431e-801f-75ea3be37d37" providerId="ADAL" clId="{9E185482-EDA2-424D-97B1-CFF725EDFC3E}" dt="2024-12-18T03:39:38.042" v="272" actId="167"/>
          <ac:graphicFrameMkLst>
            <pc:docMk/>
            <pc:sldMk cId="2174853723" sldId="1802"/>
            <ac:graphicFrameMk id="16" creationId="{4328BA06-C622-B011-947E-DCBE5C9ECD51}"/>
          </ac:graphicFrameMkLst>
        </pc:graphicFrameChg>
        <pc:graphicFrameChg chg="del">
          <ac:chgData name="青山 大介(AOYAMA Daisuke)" userId="62e5c414-f8d4-431e-801f-75ea3be37d37" providerId="ADAL" clId="{9E185482-EDA2-424D-97B1-CFF725EDFC3E}" dt="2024-12-25T04:54:43.940" v="550" actId="478"/>
          <ac:graphicFrameMkLst>
            <pc:docMk/>
            <pc:sldMk cId="2174853723" sldId="1802"/>
            <ac:graphicFrameMk id="27" creationId="{5854502F-3CF4-C0E0-573D-8CEB2F7A9B1F}"/>
          </ac:graphicFrameMkLst>
        </pc:graphicFrameChg>
        <pc:picChg chg="add mod">
          <ac:chgData name="青山 大介(AOYAMA Daisuke)" userId="62e5c414-f8d4-431e-801f-75ea3be37d37" providerId="ADAL" clId="{9E185482-EDA2-424D-97B1-CFF725EDFC3E}" dt="2024-12-25T04:54:50.699" v="553" actId="1076"/>
          <ac:picMkLst>
            <pc:docMk/>
            <pc:sldMk cId="2174853723" sldId="1802"/>
            <ac:picMk id="8" creationId="{00D4F10C-B18B-7776-588A-4A375C0A50E6}"/>
          </ac:picMkLst>
        </pc:picChg>
      </pc:sldChg>
      <pc:sldChg chg="addSp delSp modSp mod">
        <pc:chgData name="青山 大介(AOYAMA Daisuke)" userId="62e5c414-f8d4-431e-801f-75ea3be37d37" providerId="ADAL" clId="{9E185482-EDA2-424D-97B1-CFF725EDFC3E}" dt="2024-12-25T04:52:59.456" v="549" actId="14100"/>
        <pc:sldMkLst>
          <pc:docMk/>
          <pc:sldMk cId="4155459258" sldId="1803"/>
        </pc:sldMkLst>
        <pc:spChg chg="mod">
          <ac:chgData name="青山 大介(AOYAMA Daisuke)" userId="62e5c414-f8d4-431e-801f-75ea3be37d37" providerId="ADAL" clId="{9E185482-EDA2-424D-97B1-CFF725EDFC3E}" dt="2024-12-18T03:43:10.921" v="457" actId="20577"/>
          <ac:spMkLst>
            <pc:docMk/>
            <pc:sldMk cId="4155459258" sldId="1803"/>
            <ac:spMk id="8" creationId="{D7FDF8F7-1165-88FF-2A7D-D571C1D4BFAE}"/>
          </ac:spMkLst>
        </pc:spChg>
        <pc:spChg chg="add mod">
          <ac:chgData name="青山 大介(AOYAMA Daisuke)" userId="62e5c414-f8d4-431e-801f-75ea3be37d37" providerId="ADAL" clId="{9E185482-EDA2-424D-97B1-CFF725EDFC3E}" dt="2024-12-25T04:52:59.456" v="549" actId="14100"/>
          <ac:spMkLst>
            <pc:docMk/>
            <pc:sldMk cId="4155459258" sldId="1803"/>
            <ac:spMk id="12" creationId="{9C579815-7452-6922-211C-0C151841D94C}"/>
          </ac:spMkLst>
        </pc:spChg>
        <pc:graphicFrameChg chg="del mod">
          <ac:chgData name="青山 大介(AOYAMA Daisuke)" userId="62e5c414-f8d4-431e-801f-75ea3be37d37" providerId="ADAL" clId="{9E185482-EDA2-424D-97B1-CFF725EDFC3E}" dt="2024-12-25T04:52:19.314" v="542" actId="478"/>
          <ac:graphicFrameMkLst>
            <pc:docMk/>
            <pc:sldMk cId="4155459258" sldId="1803"/>
            <ac:graphicFrameMk id="11" creationId="{ACF7D667-AD41-DFCA-B65A-E63FABE01CF7}"/>
          </ac:graphicFrameMkLst>
        </pc:graphicFrameChg>
        <pc:picChg chg="add del mod">
          <ac:chgData name="青山 大介(AOYAMA Daisuke)" userId="62e5c414-f8d4-431e-801f-75ea3be37d37" providerId="ADAL" clId="{9E185482-EDA2-424D-97B1-CFF725EDFC3E}" dt="2024-12-25T04:51:06.508" v="532" actId="478"/>
          <ac:picMkLst>
            <pc:docMk/>
            <pc:sldMk cId="4155459258" sldId="1803"/>
            <ac:picMk id="5" creationId="{3758D3EE-4D2F-CF41-31EC-D0C1B9EA000D}"/>
          </ac:picMkLst>
        </pc:picChg>
        <pc:picChg chg="add del mod">
          <ac:chgData name="青山 大介(AOYAMA Daisuke)" userId="62e5c414-f8d4-431e-801f-75ea3be37d37" providerId="ADAL" clId="{9E185482-EDA2-424D-97B1-CFF725EDFC3E}" dt="2024-12-25T04:51:30.639" v="537" actId="478"/>
          <ac:picMkLst>
            <pc:docMk/>
            <pc:sldMk cId="4155459258" sldId="1803"/>
            <ac:picMk id="7" creationId="{24CE2BAD-633C-2CDE-0788-C573C02042C6}"/>
          </ac:picMkLst>
        </pc:picChg>
        <pc:picChg chg="add mod">
          <ac:chgData name="青山 大介(AOYAMA Daisuke)" userId="62e5c414-f8d4-431e-801f-75ea3be37d37" providerId="ADAL" clId="{9E185482-EDA2-424D-97B1-CFF725EDFC3E}" dt="2024-12-25T04:52:11.269" v="540" actId="14100"/>
          <ac:picMkLst>
            <pc:docMk/>
            <pc:sldMk cId="4155459258" sldId="1803"/>
            <ac:picMk id="10" creationId="{5DDFAABF-5844-7CF2-427C-9DEFCE9C4A31}"/>
          </ac:picMkLst>
        </pc:picChg>
      </pc:sldChg>
    </pc:docChg>
  </pc:docChgLst>
  <pc:docChgLst>
    <pc:chgData name="澤村 僚(SAWAMURA Ryo)" userId="4cfe6057-f08c-4400-b030-3b1cc012e179" providerId="ADAL" clId="{EAC640A5-805A-4767-A968-EFF0710AE39C}"/>
    <pc:docChg chg="undo custSel addSld delSld modSld sldOrd">
      <pc:chgData name="澤村 僚(SAWAMURA Ryo)" userId="4cfe6057-f08c-4400-b030-3b1cc012e179" providerId="ADAL" clId="{EAC640A5-805A-4767-A968-EFF0710AE39C}" dt="2024-04-24T17:58:27.876" v="1088" actId="2696"/>
      <pc:docMkLst>
        <pc:docMk/>
      </pc:docMkLst>
      <pc:sldChg chg="del">
        <pc:chgData name="澤村 僚(SAWAMURA Ryo)" userId="4cfe6057-f08c-4400-b030-3b1cc012e179" providerId="ADAL" clId="{EAC640A5-805A-4767-A968-EFF0710AE39C}" dt="2024-04-24T09:55:39.168" v="188" actId="47"/>
        <pc:sldMkLst>
          <pc:docMk/>
          <pc:sldMk cId="1703494022" sldId="1794"/>
        </pc:sldMkLst>
      </pc:sldChg>
      <pc:sldChg chg="addSp delSp modSp add del mod">
        <pc:chgData name="澤村 僚(SAWAMURA Ryo)" userId="4cfe6057-f08c-4400-b030-3b1cc012e179" providerId="ADAL" clId="{EAC640A5-805A-4767-A968-EFF0710AE39C}" dt="2024-04-24T17:58:17.305" v="1086" actId="2696"/>
        <pc:sldMkLst>
          <pc:docMk/>
          <pc:sldMk cId="1350526129" sldId="1796"/>
        </pc:sldMkLst>
        <pc:spChg chg="del">
          <ac:chgData name="澤村 僚(SAWAMURA Ryo)" userId="4cfe6057-f08c-4400-b030-3b1cc012e179" providerId="ADAL" clId="{EAC640A5-805A-4767-A968-EFF0710AE39C}" dt="2024-04-24T16:32:22.093" v="253" actId="478"/>
          <ac:spMkLst>
            <pc:docMk/>
            <pc:sldMk cId="1350526129" sldId="1796"/>
            <ac:spMk id="5" creationId="{6740BA51-ED12-9398-0D70-8BBF43161487}"/>
          </ac:spMkLst>
        </pc:spChg>
        <pc:spChg chg="add del mod">
          <ac:chgData name="澤村 僚(SAWAMURA Ryo)" userId="4cfe6057-f08c-4400-b030-3b1cc012e179" providerId="ADAL" clId="{EAC640A5-805A-4767-A968-EFF0710AE39C}" dt="2024-04-24T16:32:26.288" v="254" actId="478"/>
          <ac:spMkLst>
            <pc:docMk/>
            <pc:sldMk cId="1350526129" sldId="1796"/>
            <ac:spMk id="7" creationId="{53FDB7F5-98CF-7C80-283B-DD10CB385218}"/>
          </ac:spMkLst>
        </pc:spChg>
        <pc:spChg chg="add mod">
          <ac:chgData name="澤村 僚(SAWAMURA Ryo)" userId="4cfe6057-f08c-4400-b030-3b1cc012e179" providerId="ADAL" clId="{EAC640A5-805A-4767-A968-EFF0710AE39C}" dt="2024-04-24T16:32:28.119" v="255"/>
          <ac:spMkLst>
            <pc:docMk/>
            <pc:sldMk cId="1350526129" sldId="1796"/>
            <ac:spMk id="8" creationId="{28F5639B-153A-C9C6-8D71-B88513E98BDD}"/>
          </ac:spMkLst>
        </pc:spChg>
        <pc:spChg chg="add mod">
          <ac:chgData name="澤村 僚(SAWAMURA Ryo)" userId="4cfe6057-f08c-4400-b030-3b1cc012e179" providerId="ADAL" clId="{EAC640A5-805A-4767-A968-EFF0710AE39C}" dt="2024-04-24T16:32:45.481" v="266" actId="20577"/>
          <ac:spMkLst>
            <pc:docMk/>
            <pc:sldMk cId="1350526129" sldId="1796"/>
            <ac:spMk id="10" creationId="{2BAADCAC-D1F1-C3A6-984C-4F541AD45764}"/>
          </ac:spMkLst>
        </pc:spChg>
        <pc:spChg chg="add mod">
          <ac:chgData name="澤村 僚(SAWAMURA Ryo)" userId="4cfe6057-f08c-4400-b030-3b1cc012e179" providerId="ADAL" clId="{EAC640A5-805A-4767-A968-EFF0710AE39C}" dt="2024-04-24T17:15:17.281" v="873" actId="1076"/>
          <ac:spMkLst>
            <pc:docMk/>
            <pc:sldMk cId="1350526129" sldId="1796"/>
            <ac:spMk id="12" creationId="{FEF77792-B03F-F8AB-D373-EB1AD7A6FC97}"/>
          </ac:spMkLst>
        </pc:spChg>
        <pc:graphicFrameChg chg="mod modGraphic">
          <ac:chgData name="澤村 僚(SAWAMURA Ryo)" userId="4cfe6057-f08c-4400-b030-3b1cc012e179" providerId="ADAL" clId="{EAC640A5-805A-4767-A968-EFF0710AE39C}" dt="2024-04-24T17:38:29.124" v="1072" actId="20577"/>
          <ac:graphicFrameMkLst>
            <pc:docMk/>
            <pc:sldMk cId="1350526129" sldId="1796"/>
            <ac:graphicFrameMk id="3" creationId="{11C13D6C-87C3-87C3-2D96-4A1678AD8316}"/>
          </ac:graphicFrameMkLst>
        </pc:graphicFrameChg>
        <pc:graphicFrameChg chg="del mod modGraphic">
          <ac:chgData name="澤村 僚(SAWAMURA Ryo)" userId="4cfe6057-f08c-4400-b030-3b1cc012e179" providerId="ADAL" clId="{EAC640A5-805A-4767-A968-EFF0710AE39C}" dt="2024-04-24T17:37:08.193" v="1067" actId="478"/>
          <ac:graphicFrameMkLst>
            <pc:docMk/>
            <pc:sldMk cId="1350526129" sldId="1796"/>
            <ac:graphicFrameMk id="4" creationId="{B0CB6E7E-196E-F269-59D1-98DAEE96C02F}"/>
          </ac:graphicFrameMkLst>
        </pc:graphicFrameChg>
        <pc:graphicFrameChg chg="add mod">
          <ac:chgData name="澤村 僚(SAWAMURA Ryo)" userId="4cfe6057-f08c-4400-b030-3b1cc012e179" providerId="ADAL" clId="{EAC640A5-805A-4767-A968-EFF0710AE39C}" dt="2024-04-24T17:37:18.431" v="1068"/>
          <ac:graphicFrameMkLst>
            <pc:docMk/>
            <pc:sldMk cId="1350526129" sldId="1796"/>
            <ac:graphicFrameMk id="13" creationId="{93224450-9876-480F-2E9B-FE60805529A4}"/>
          </ac:graphicFrameMkLst>
        </pc:graphicFrameChg>
        <pc:picChg chg="del">
          <ac:chgData name="澤村 僚(SAWAMURA Ryo)" userId="4cfe6057-f08c-4400-b030-3b1cc012e179" providerId="ADAL" clId="{EAC640A5-805A-4767-A968-EFF0710AE39C}" dt="2024-04-24T16:12:26.610" v="198" actId="478"/>
          <ac:picMkLst>
            <pc:docMk/>
            <pc:sldMk cId="1350526129" sldId="1796"/>
            <ac:picMk id="9" creationId="{474C1F0E-626D-10C1-5911-BCF40655E7D1}"/>
          </ac:picMkLst>
        </pc:picChg>
        <pc:picChg chg="del">
          <ac:chgData name="澤村 僚(SAWAMURA Ryo)" userId="4cfe6057-f08c-4400-b030-3b1cc012e179" providerId="ADAL" clId="{EAC640A5-805A-4767-A968-EFF0710AE39C}" dt="2024-04-24T16:12:27.546" v="199" actId="478"/>
          <ac:picMkLst>
            <pc:docMk/>
            <pc:sldMk cId="1350526129" sldId="1796"/>
            <ac:picMk id="11" creationId="{D128F067-1019-D0F7-1E0D-3E6CBF8DE812}"/>
          </ac:picMkLst>
        </pc:picChg>
      </pc:sldChg>
      <pc:sldChg chg="del">
        <pc:chgData name="澤村 僚(SAWAMURA Ryo)" userId="4cfe6057-f08c-4400-b030-3b1cc012e179" providerId="ADAL" clId="{EAC640A5-805A-4767-A968-EFF0710AE39C}" dt="2024-04-24T09:29:14.673" v="183" actId="47"/>
        <pc:sldMkLst>
          <pc:docMk/>
          <pc:sldMk cId="1433748239" sldId="1797"/>
        </pc:sldMkLst>
      </pc:sldChg>
      <pc:sldChg chg="del">
        <pc:chgData name="澤村 僚(SAWAMURA Ryo)" userId="4cfe6057-f08c-4400-b030-3b1cc012e179" providerId="ADAL" clId="{EAC640A5-805A-4767-A968-EFF0710AE39C}" dt="2024-04-24T09:14:19.977" v="2" actId="47"/>
        <pc:sldMkLst>
          <pc:docMk/>
          <pc:sldMk cId="1003148262" sldId="1799"/>
        </pc:sldMkLst>
      </pc:sldChg>
      <pc:sldChg chg="addSp modSp add mod">
        <pc:chgData name="澤村 僚(SAWAMURA Ryo)" userId="4cfe6057-f08c-4400-b030-3b1cc012e179" providerId="ADAL" clId="{EAC640A5-805A-4767-A968-EFF0710AE39C}" dt="2024-04-24T09:24:49.439" v="170" actId="1076"/>
        <pc:sldMkLst>
          <pc:docMk/>
          <pc:sldMk cId="786981567" sldId="1800"/>
        </pc:sldMkLst>
        <pc:spChg chg="add mod">
          <ac:chgData name="澤村 僚(SAWAMURA Ryo)" userId="4cfe6057-f08c-4400-b030-3b1cc012e179" providerId="ADAL" clId="{EAC640A5-805A-4767-A968-EFF0710AE39C}" dt="2024-04-24T08:55:42.210" v="1"/>
          <ac:spMkLst>
            <pc:docMk/>
            <pc:sldMk cId="786981567" sldId="1800"/>
            <ac:spMk id="3" creationId="{13CF5F74-B0CC-0804-84B5-AA312627120F}"/>
          </ac:spMkLst>
        </pc:spChg>
        <pc:spChg chg="mod">
          <ac:chgData name="澤村 僚(SAWAMURA Ryo)" userId="4cfe6057-f08c-4400-b030-3b1cc012e179" providerId="ADAL" clId="{EAC640A5-805A-4767-A968-EFF0710AE39C}" dt="2024-04-24T09:24:49.439" v="170" actId="1076"/>
          <ac:spMkLst>
            <pc:docMk/>
            <pc:sldMk cId="786981567" sldId="1800"/>
            <ac:spMk id="5" creationId="{81D1DB79-8583-A99E-540E-8CB4E3888F88}"/>
          </ac:spMkLst>
        </pc:spChg>
      </pc:sldChg>
      <pc:sldChg chg="modSp add mod">
        <pc:chgData name="澤村 僚(SAWAMURA Ryo)" userId="4cfe6057-f08c-4400-b030-3b1cc012e179" providerId="ADAL" clId="{EAC640A5-805A-4767-A968-EFF0710AE39C}" dt="2024-04-24T17:05:12.517" v="805" actId="20577"/>
        <pc:sldMkLst>
          <pc:docMk/>
          <pc:sldMk cId="1731062681" sldId="1801"/>
        </pc:sldMkLst>
        <pc:graphicFrameChg chg="modGraphic">
          <ac:chgData name="澤村 僚(SAWAMURA Ryo)" userId="4cfe6057-f08c-4400-b030-3b1cc012e179" providerId="ADAL" clId="{EAC640A5-805A-4767-A968-EFF0710AE39C}" dt="2024-04-24T17:05:12.517" v="805" actId="20577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  <pc:sldChg chg="modSp add mod">
        <pc:chgData name="澤村 僚(SAWAMURA Ryo)" userId="4cfe6057-f08c-4400-b030-3b1cc012e179" providerId="ADAL" clId="{EAC640A5-805A-4767-A968-EFF0710AE39C}" dt="2024-04-24T17:08:04.973" v="824" actId="1076"/>
        <pc:sldMkLst>
          <pc:docMk/>
          <pc:sldMk cId="2174853723" sldId="1802"/>
        </pc:sldMkLst>
        <pc:spChg chg="mod">
          <ac:chgData name="澤村 僚(SAWAMURA Ryo)" userId="4cfe6057-f08c-4400-b030-3b1cc012e179" providerId="ADAL" clId="{EAC640A5-805A-4767-A968-EFF0710AE39C}" dt="2024-04-24T17:08:04.973" v="824" actId="1076"/>
          <ac:spMkLst>
            <pc:docMk/>
            <pc:sldMk cId="2174853723" sldId="1802"/>
            <ac:spMk id="4" creationId="{79F07E1F-BD8A-6EF9-8286-94C1A647960B}"/>
          </ac:spMkLst>
        </pc:spChg>
        <pc:spChg chg="mod">
          <ac:chgData name="澤村 僚(SAWAMURA Ryo)" userId="4cfe6057-f08c-4400-b030-3b1cc012e179" providerId="ADAL" clId="{EAC640A5-805A-4767-A968-EFF0710AE39C}" dt="2024-04-24T17:04:56.795" v="797" actId="20577"/>
          <ac:spMkLst>
            <pc:docMk/>
            <pc:sldMk cId="2174853723" sldId="1802"/>
            <ac:spMk id="21" creationId="{1CE48F07-2263-E2AB-D2E2-821FF0157F73}"/>
          </ac:spMkLst>
        </pc:spChg>
        <pc:spChg chg="mod">
          <ac:chgData name="澤村 僚(SAWAMURA Ryo)" userId="4cfe6057-f08c-4400-b030-3b1cc012e179" providerId="ADAL" clId="{EAC640A5-805A-4767-A968-EFF0710AE39C}" dt="2024-04-24T17:05:27.963" v="806" actId="20577"/>
          <ac:spMkLst>
            <pc:docMk/>
            <pc:sldMk cId="2174853723" sldId="1802"/>
            <ac:spMk id="25" creationId="{6E42A63F-2890-CD55-BF86-10D64ABE91F0}"/>
          </ac:spMkLst>
        </pc:spChg>
        <pc:graphicFrameChg chg="mod modGraphic">
          <ac:chgData name="澤村 僚(SAWAMURA Ryo)" userId="4cfe6057-f08c-4400-b030-3b1cc012e179" providerId="ADAL" clId="{EAC640A5-805A-4767-A968-EFF0710AE39C}" dt="2024-04-24T17:07:46.325" v="822" actId="1076"/>
          <ac:graphicFrameMkLst>
            <pc:docMk/>
            <pc:sldMk cId="2174853723" sldId="1802"/>
            <ac:graphicFrameMk id="8" creationId="{37C17ED4-31B5-BE1E-4D38-25AA300C4F1B}"/>
          </ac:graphicFrameMkLst>
        </pc:graphicFrameChg>
      </pc:sldChg>
      <pc:sldChg chg="addSp modSp add mod">
        <pc:chgData name="澤村 僚(SAWAMURA Ryo)" userId="4cfe6057-f08c-4400-b030-3b1cc012e179" providerId="ADAL" clId="{EAC640A5-805A-4767-A968-EFF0710AE39C}" dt="2024-04-24T17:05:53.560" v="807" actId="1076"/>
        <pc:sldMkLst>
          <pc:docMk/>
          <pc:sldMk cId="4155459258" sldId="1803"/>
        </pc:sldMkLst>
        <pc:spChg chg="add mod">
          <ac:chgData name="澤村 僚(SAWAMURA Ryo)" userId="4cfe6057-f08c-4400-b030-3b1cc012e179" providerId="ADAL" clId="{EAC640A5-805A-4767-A968-EFF0710AE39C}" dt="2024-04-24T10:38:16.550" v="196"/>
          <ac:spMkLst>
            <pc:docMk/>
            <pc:sldMk cId="4155459258" sldId="1803"/>
            <ac:spMk id="3" creationId="{992659FA-9BCC-7BE8-66D6-564C9B321D15}"/>
          </ac:spMkLst>
        </pc:spChg>
        <pc:spChg chg="mod">
          <ac:chgData name="澤村 僚(SAWAMURA Ryo)" userId="4cfe6057-f08c-4400-b030-3b1cc012e179" providerId="ADAL" clId="{EAC640A5-805A-4767-A968-EFF0710AE39C}" dt="2024-04-24T09:59:26.541" v="195" actId="20577"/>
          <ac:spMkLst>
            <pc:docMk/>
            <pc:sldMk cId="4155459258" sldId="1803"/>
            <ac:spMk id="8" creationId="{D7FDF8F7-1165-88FF-2A7D-D571C1D4BFAE}"/>
          </ac:spMkLst>
        </pc:spChg>
        <pc:graphicFrameChg chg="mod">
          <ac:chgData name="澤村 僚(SAWAMURA Ryo)" userId="4cfe6057-f08c-4400-b030-3b1cc012e179" providerId="ADAL" clId="{EAC640A5-805A-4767-A968-EFF0710AE39C}" dt="2024-04-24T17:05:53.560" v="807" actId="1076"/>
          <ac:graphicFrameMkLst>
            <pc:docMk/>
            <pc:sldMk cId="4155459258" sldId="1803"/>
            <ac:graphicFrameMk id="11" creationId="{ACF7D667-AD41-DFCA-B65A-E63FABE01CF7}"/>
          </ac:graphicFrameMkLst>
        </pc:graphicFrameChg>
      </pc:sldChg>
      <pc:sldChg chg="modSp add del mod">
        <pc:chgData name="澤村 僚(SAWAMURA Ryo)" userId="4cfe6057-f08c-4400-b030-3b1cc012e179" providerId="ADAL" clId="{EAC640A5-805A-4767-A968-EFF0710AE39C}" dt="2024-04-24T17:58:27.876" v="1088" actId="2696"/>
        <pc:sldMkLst>
          <pc:docMk/>
          <pc:sldMk cId="3249850689" sldId="1804"/>
        </pc:sldMkLst>
        <pc:spChg chg="mod">
          <ac:chgData name="澤村 僚(SAWAMURA Ryo)" userId="4cfe6057-f08c-4400-b030-3b1cc012e179" providerId="ADAL" clId="{EAC640A5-805A-4767-A968-EFF0710AE39C}" dt="2024-04-24T17:39:24.600" v="1085" actId="20577"/>
          <ac:spMkLst>
            <pc:docMk/>
            <pc:sldMk cId="3249850689" sldId="1804"/>
            <ac:spMk id="8" creationId="{D7FDF8F7-1165-88FF-2A7D-D571C1D4BFAE}"/>
          </ac:spMkLst>
        </pc:spChg>
        <pc:graphicFrameChg chg="mod">
          <ac:chgData name="澤村 僚(SAWAMURA Ryo)" userId="4cfe6057-f08c-4400-b030-3b1cc012e179" providerId="ADAL" clId="{EAC640A5-805A-4767-A968-EFF0710AE39C}" dt="2024-04-24T17:33:15.862" v="992" actId="1076"/>
          <ac:graphicFrameMkLst>
            <pc:docMk/>
            <pc:sldMk cId="3249850689" sldId="1804"/>
            <ac:graphicFrameMk id="11" creationId="{ACF7D667-AD41-DFCA-B65A-E63FABE01CF7}"/>
          </ac:graphicFrameMkLst>
        </pc:graphicFrameChg>
      </pc:sldChg>
      <pc:sldChg chg="addSp modSp add del mod">
        <pc:chgData name="澤村 僚(SAWAMURA Ryo)" userId="4cfe6057-f08c-4400-b030-3b1cc012e179" providerId="ADAL" clId="{EAC640A5-805A-4767-A968-EFF0710AE39C}" dt="2024-04-24T17:58:24.852" v="1087" actId="2696"/>
        <pc:sldMkLst>
          <pc:docMk/>
          <pc:sldMk cId="4090880940" sldId="1805"/>
        </pc:sldMkLst>
        <pc:spChg chg="add mod">
          <ac:chgData name="澤村 僚(SAWAMURA Ryo)" userId="4cfe6057-f08c-4400-b030-3b1cc012e179" providerId="ADAL" clId="{EAC640A5-805A-4767-A968-EFF0710AE39C}" dt="2024-04-24T17:07:18.111" v="816" actId="14100"/>
          <ac:spMkLst>
            <pc:docMk/>
            <pc:sldMk cId="4090880940" sldId="1805"/>
            <ac:spMk id="2" creationId="{C1994778-3866-BEC8-9342-771D44BAB01A}"/>
          </ac:spMkLst>
        </pc:spChg>
        <pc:spChg chg="add mod">
          <ac:chgData name="澤村 僚(SAWAMURA Ryo)" userId="4cfe6057-f08c-4400-b030-3b1cc012e179" providerId="ADAL" clId="{EAC640A5-805A-4767-A968-EFF0710AE39C}" dt="2024-04-24T17:14:56.416" v="870" actId="14100"/>
          <ac:spMkLst>
            <pc:docMk/>
            <pc:sldMk cId="4090880940" sldId="1805"/>
            <ac:spMk id="5" creationId="{A15210BD-AC66-5CE5-325A-0EDC77FCB3D5}"/>
          </ac:spMkLst>
        </pc:spChg>
        <pc:spChg chg="add mod">
          <ac:chgData name="澤村 僚(SAWAMURA Ryo)" userId="4cfe6057-f08c-4400-b030-3b1cc012e179" providerId="ADAL" clId="{EAC640A5-805A-4767-A968-EFF0710AE39C}" dt="2024-04-24T17:14:53.550" v="869" actId="1076"/>
          <ac:spMkLst>
            <pc:docMk/>
            <pc:sldMk cId="4090880940" sldId="1805"/>
            <ac:spMk id="7" creationId="{9ABF7236-074C-4D5A-D44E-E46A91B9F70E}"/>
          </ac:spMkLst>
        </pc:spChg>
        <pc:spChg chg="mod">
          <ac:chgData name="澤村 僚(SAWAMURA Ryo)" userId="4cfe6057-f08c-4400-b030-3b1cc012e179" providerId="ADAL" clId="{EAC640A5-805A-4767-A968-EFF0710AE39C}" dt="2024-04-24T17:11:39.972" v="847" actId="403"/>
          <ac:spMkLst>
            <pc:docMk/>
            <pc:sldMk cId="4090880940" sldId="1805"/>
            <ac:spMk id="8" creationId="{28F5639B-153A-C9C6-8D71-B88513E98BDD}"/>
          </ac:spMkLst>
        </pc:spChg>
        <pc:spChg chg="add mod">
          <ac:chgData name="澤村 僚(SAWAMURA Ryo)" userId="4cfe6057-f08c-4400-b030-3b1cc012e179" providerId="ADAL" clId="{EAC640A5-805A-4767-A968-EFF0710AE39C}" dt="2024-04-24T17:15:01.428" v="871" actId="1076"/>
          <ac:spMkLst>
            <pc:docMk/>
            <pc:sldMk cId="4090880940" sldId="1805"/>
            <ac:spMk id="9" creationId="{42BE093D-B1B9-255A-CAEB-C3DD53AD9C2E}"/>
          </ac:spMkLst>
        </pc:spChg>
        <pc:spChg chg="mod">
          <ac:chgData name="澤村 僚(SAWAMURA Ryo)" userId="4cfe6057-f08c-4400-b030-3b1cc012e179" providerId="ADAL" clId="{EAC640A5-805A-4767-A968-EFF0710AE39C}" dt="2024-04-24T17:12:05.575" v="852" actId="1076"/>
          <ac:spMkLst>
            <pc:docMk/>
            <pc:sldMk cId="4090880940" sldId="1805"/>
            <ac:spMk id="10" creationId="{2BAADCAC-D1F1-C3A6-984C-4F541AD45764}"/>
          </ac:spMkLst>
        </pc:spChg>
        <pc:spChg chg="add mod">
          <ac:chgData name="澤村 僚(SAWAMURA Ryo)" userId="4cfe6057-f08c-4400-b030-3b1cc012e179" providerId="ADAL" clId="{EAC640A5-805A-4767-A968-EFF0710AE39C}" dt="2024-04-24T17:11:45.561" v="848" actId="1076"/>
          <ac:spMkLst>
            <pc:docMk/>
            <pc:sldMk cId="4090880940" sldId="1805"/>
            <ac:spMk id="11" creationId="{EEB975FB-26C7-0357-CCEF-322789A5818D}"/>
          </ac:spMkLst>
        </pc:spChg>
        <pc:spChg chg="add mod">
          <ac:chgData name="澤村 僚(SAWAMURA Ryo)" userId="4cfe6057-f08c-4400-b030-3b1cc012e179" providerId="ADAL" clId="{EAC640A5-805A-4767-A968-EFF0710AE39C}" dt="2024-04-24T17:15:07.479" v="872" actId="1076"/>
          <ac:spMkLst>
            <pc:docMk/>
            <pc:sldMk cId="4090880940" sldId="1805"/>
            <ac:spMk id="12" creationId="{6C4E6462-2813-BC13-44B8-C16503C007D7}"/>
          </ac:spMkLst>
        </pc:spChg>
        <pc:spChg chg="add mod">
          <ac:chgData name="澤村 僚(SAWAMURA Ryo)" userId="4cfe6057-f08c-4400-b030-3b1cc012e179" providerId="ADAL" clId="{EAC640A5-805A-4767-A968-EFF0710AE39C}" dt="2024-04-24T17:15:29.409" v="874"/>
          <ac:spMkLst>
            <pc:docMk/>
            <pc:sldMk cId="4090880940" sldId="1805"/>
            <ac:spMk id="13" creationId="{87D06DAF-7F72-9DC4-5AFE-EE9A9EB0A7BE}"/>
          </ac:spMkLst>
        </pc:spChg>
        <pc:spChg chg="add mod">
          <ac:chgData name="澤村 僚(SAWAMURA Ryo)" userId="4cfe6057-f08c-4400-b030-3b1cc012e179" providerId="ADAL" clId="{EAC640A5-805A-4767-A968-EFF0710AE39C}" dt="2024-04-24T17:15:46.370" v="876" actId="1076"/>
          <ac:spMkLst>
            <pc:docMk/>
            <pc:sldMk cId="4090880940" sldId="1805"/>
            <ac:spMk id="14" creationId="{4FC6F981-1330-DF0D-54BB-32E00F273C94}"/>
          </ac:spMkLst>
        </pc:spChg>
        <pc:spChg chg="add mod">
          <ac:chgData name="澤村 僚(SAWAMURA Ryo)" userId="4cfe6057-f08c-4400-b030-3b1cc012e179" providerId="ADAL" clId="{EAC640A5-805A-4767-A968-EFF0710AE39C}" dt="2024-04-24T17:15:59.792" v="878" actId="1076"/>
          <ac:spMkLst>
            <pc:docMk/>
            <pc:sldMk cId="4090880940" sldId="1805"/>
            <ac:spMk id="15" creationId="{7A375DE6-AB41-E3C8-757A-C276B44099A3}"/>
          </ac:spMkLst>
        </pc:spChg>
        <pc:spChg chg="add mod">
          <ac:chgData name="澤村 僚(SAWAMURA Ryo)" userId="4cfe6057-f08c-4400-b030-3b1cc012e179" providerId="ADAL" clId="{EAC640A5-805A-4767-A968-EFF0710AE39C}" dt="2024-04-24T17:16:14.931" v="880" actId="1076"/>
          <ac:spMkLst>
            <pc:docMk/>
            <pc:sldMk cId="4090880940" sldId="1805"/>
            <ac:spMk id="16" creationId="{8F868034-9FCA-7B61-B22D-3993BECECB13}"/>
          </ac:spMkLst>
        </pc:spChg>
        <pc:spChg chg="add mod">
          <ac:chgData name="澤村 僚(SAWAMURA Ryo)" userId="4cfe6057-f08c-4400-b030-3b1cc012e179" providerId="ADAL" clId="{EAC640A5-805A-4767-A968-EFF0710AE39C}" dt="2024-04-24T17:36:07.164" v="1057"/>
          <ac:spMkLst>
            <pc:docMk/>
            <pc:sldMk cId="4090880940" sldId="1805"/>
            <ac:spMk id="17" creationId="{A165D4A6-8858-34CA-4309-DD640915EDF5}"/>
          </ac:spMkLst>
        </pc:spChg>
        <pc:spChg chg="add mod">
          <ac:chgData name="澤村 僚(SAWAMURA Ryo)" userId="4cfe6057-f08c-4400-b030-3b1cc012e179" providerId="ADAL" clId="{EAC640A5-805A-4767-A968-EFF0710AE39C}" dt="2024-04-24T17:16:53.348" v="885"/>
          <ac:spMkLst>
            <pc:docMk/>
            <pc:sldMk cId="4090880940" sldId="1805"/>
            <ac:spMk id="18" creationId="{BEB95044-79B3-53FA-1AA2-DBC71FEB4C63}"/>
          </ac:spMkLst>
        </pc:spChg>
        <pc:spChg chg="add mod">
          <ac:chgData name="澤村 僚(SAWAMURA Ryo)" userId="4cfe6057-f08c-4400-b030-3b1cc012e179" providerId="ADAL" clId="{EAC640A5-805A-4767-A968-EFF0710AE39C}" dt="2024-04-24T17:39:07.133" v="1080" actId="20577"/>
          <ac:spMkLst>
            <pc:docMk/>
            <pc:sldMk cId="4090880940" sldId="1805"/>
            <ac:spMk id="19" creationId="{C00D7FAB-EF2E-530E-D0CB-CBA6701ED198}"/>
          </ac:spMkLst>
        </pc:spChg>
        <pc:spChg chg="add mod">
          <ac:chgData name="澤村 僚(SAWAMURA Ryo)" userId="4cfe6057-f08c-4400-b030-3b1cc012e179" providerId="ADAL" clId="{EAC640A5-805A-4767-A968-EFF0710AE39C}" dt="2024-04-24T17:17:28.814" v="893" actId="20577"/>
          <ac:spMkLst>
            <pc:docMk/>
            <pc:sldMk cId="4090880940" sldId="1805"/>
            <ac:spMk id="20" creationId="{DF1765CA-6E12-0D8C-E0F2-6B3C0EF46C0E}"/>
          </ac:spMkLst>
        </pc:spChg>
        <pc:spChg chg="add mod">
          <ac:chgData name="澤村 僚(SAWAMURA Ryo)" userId="4cfe6057-f08c-4400-b030-3b1cc012e179" providerId="ADAL" clId="{EAC640A5-805A-4767-A968-EFF0710AE39C}" dt="2024-04-24T17:17:44.031" v="895"/>
          <ac:spMkLst>
            <pc:docMk/>
            <pc:sldMk cId="4090880940" sldId="1805"/>
            <ac:spMk id="22" creationId="{FE4080B5-1B23-D03A-5CAE-5E2B7671DB3F}"/>
          </ac:spMkLst>
        </pc:spChg>
        <pc:graphicFrameChg chg="mod modGraphic">
          <ac:chgData name="澤村 僚(SAWAMURA Ryo)" userId="4cfe6057-f08c-4400-b030-3b1cc012e179" providerId="ADAL" clId="{EAC640A5-805A-4767-A968-EFF0710AE39C}" dt="2024-04-24T17:38:36.717" v="1076" actId="20577"/>
          <ac:graphicFrameMkLst>
            <pc:docMk/>
            <pc:sldMk cId="4090880940" sldId="1805"/>
            <ac:graphicFrameMk id="3" creationId="{11C13D6C-87C3-87C3-2D96-4A1678AD8316}"/>
          </ac:graphicFrameMkLst>
        </pc:graphicFrameChg>
        <pc:graphicFrameChg chg="mod modGraphic">
          <ac:chgData name="澤村 僚(SAWAMURA Ryo)" userId="4cfe6057-f08c-4400-b030-3b1cc012e179" providerId="ADAL" clId="{EAC640A5-805A-4767-A968-EFF0710AE39C}" dt="2024-04-24T17:36:36.770" v="1062" actId="1076"/>
          <ac:graphicFrameMkLst>
            <pc:docMk/>
            <pc:sldMk cId="4090880940" sldId="1805"/>
            <ac:graphicFrameMk id="4" creationId="{B0CB6E7E-196E-F269-59D1-98DAEE96C02F}"/>
          </ac:graphicFrameMkLst>
        </pc:graphicFrameChg>
        <pc:graphicFrameChg chg="add mod">
          <ac:chgData name="澤村 僚(SAWAMURA Ryo)" userId="4cfe6057-f08c-4400-b030-3b1cc012e179" providerId="ADAL" clId="{EAC640A5-805A-4767-A968-EFF0710AE39C}" dt="2024-04-24T17:17:31.256" v="894"/>
          <ac:graphicFrameMkLst>
            <pc:docMk/>
            <pc:sldMk cId="4090880940" sldId="1805"/>
            <ac:graphicFrameMk id="21" creationId="{B1B4F11B-162D-410B-4338-10F05DEA1555}"/>
          </ac:graphicFrameMkLst>
        </pc:graphicFrameChg>
      </pc:sldChg>
      <pc:sldChg chg="add del ord">
        <pc:chgData name="澤村 僚(SAWAMURA Ryo)" userId="4cfe6057-f08c-4400-b030-3b1cc012e179" providerId="ADAL" clId="{EAC640A5-805A-4767-A968-EFF0710AE39C}" dt="2024-04-24T17:17:50.601" v="896" actId="47"/>
        <pc:sldMkLst>
          <pc:docMk/>
          <pc:sldMk cId="521544119" sldId="1806"/>
        </pc:sldMkLst>
      </pc:sldChg>
    </pc:docChg>
  </pc:docChgLst>
  <pc:docChgLst>
    <pc:chgData name="青山 大介(AOYAMA Daisuke)" userId="62e5c414-f8d4-431e-801f-75ea3be37d37" providerId="ADAL" clId="{8FA67D32-A119-4575-85CC-3B30BD8C10D2}"/>
    <pc:docChg chg="custSel modSld">
      <pc:chgData name="青山 大介(AOYAMA Daisuke)" userId="62e5c414-f8d4-431e-801f-75ea3be37d37" providerId="ADAL" clId="{8FA67D32-A119-4575-85CC-3B30BD8C10D2}" dt="2025-01-20T07:39:17.153" v="107" actId="14100"/>
      <pc:docMkLst>
        <pc:docMk/>
      </pc:docMkLst>
      <pc:sldChg chg="modSp mod">
        <pc:chgData name="青山 大介(AOYAMA Daisuke)" userId="62e5c414-f8d4-431e-801f-75ea3be37d37" providerId="ADAL" clId="{8FA67D32-A119-4575-85CC-3B30BD8C10D2}" dt="2025-01-20T07:07:15.989" v="20" actId="20577"/>
        <pc:sldMkLst>
          <pc:docMk/>
          <pc:sldMk cId="1927059807" sldId="1764"/>
        </pc:sldMkLst>
        <pc:graphicFrameChg chg="modGraphic">
          <ac:chgData name="青山 大介(AOYAMA Daisuke)" userId="62e5c414-f8d4-431e-801f-75ea3be37d37" providerId="ADAL" clId="{8FA67D32-A119-4575-85CC-3B30BD8C10D2}" dt="2025-01-20T07:07:15.989" v="20" actId="20577"/>
          <ac:graphicFrameMkLst>
            <pc:docMk/>
            <pc:sldMk cId="1927059807" sldId="1764"/>
            <ac:graphicFrameMk id="2" creationId="{AC417C49-8970-3FBF-DACA-7F241776FB0E}"/>
          </ac:graphicFrameMkLst>
        </pc:graphicFrameChg>
      </pc:sldChg>
      <pc:sldChg chg="delSp mod">
        <pc:chgData name="青山 大介(AOYAMA Daisuke)" userId="62e5c414-f8d4-431e-801f-75ea3be37d37" providerId="ADAL" clId="{8FA67D32-A119-4575-85CC-3B30BD8C10D2}" dt="2025-01-20T07:06:15.071" v="16" actId="478"/>
        <pc:sldMkLst>
          <pc:docMk/>
          <pc:sldMk cId="4155459258" sldId="1803"/>
        </pc:sldMkLst>
        <pc:spChg chg="del">
          <ac:chgData name="青山 大介(AOYAMA Daisuke)" userId="62e5c414-f8d4-431e-801f-75ea3be37d37" providerId="ADAL" clId="{8FA67D32-A119-4575-85CC-3B30BD8C10D2}" dt="2025-01-20T07:06:15.071" v="16" actId="478"/>
          <ac:spMkLst>
            <pc:docMk/>
            <pc:sldMk cId="4155459258" sldId="1803"/>
            <ac:spMk id="3" creationId="{992659FA-9BCC-7BE8-66D6-564C9B321D15}"/>
          </ac:spMkLst>
        </pc:spChg>
      </pc:sldChg>
      <pc:sldChg chg="modSp mod">
        <pc:chgData name="青山 大介(AOYAMA Daisuke)" userId="62e5c414-f8d4-431e-801f-75ea3be37d37" providerId="ADAL" clId="{8FA67D32-A119-4575-85CC-3B30BD8C10D2}" dt="2025-01-20T07:18:33.741" v="40" actId="14100"/>
        <pc:sldMkLst>
          <pc:docMk/>
          <pc:sldMk cId="3494048592" sldId="1805"/>
        </pc:sldMkLst>
        <pc:spChg chg="mod">
          <ac:chgData name="青山 大介(AOYAMA Daisuke)" userId="62e5c414-f8d4-431e-801f-75ea3be37d37" providerId="ADAL" clId="{8FA67D32-A119-4575-85CC-3B30BD8C10D2}" dt="2025-01-20T07:18:33.741" v="40" actId="14100"/>
          <ac:spMkLst>
            <pc:docMk/>
            <pc:sldMk cId="3494048592" sldId="1805"/>
            <ac:spMk id="10" creationId="{35543A15-5B1D-8CB3-2CC6-E1EA7F2D4B43}"/>
          </ac:spMkLst>
        </pc:spChg>
        <pc:graphicFrameChg chg="modGraphic">
          <ac:chgData name="青山 大介(AOYAMA Daisuke)" userId="62e5c414-f8d4-431e-801f-75ea3be37d37" providerId="ADAL" clId="{8FA67D32-A119-4575-85CC-3B30BD8C10D2}" dt="2025-01-20T07:04:57.919" v="8" actId="20577"/>
          <ac:graphicFrameMkLst>
            <pc:docMk/>
            <pc:sldMk cId="3494048592" sldId="1805"/>
            <ac:graphicFrameMk id="8" creationId="{37C17ED4-31B5-BE1E-4D38-25AA300C4F1B}"/>
          </ac:graphicFrameMkLst>
        </pc:graphicFrameChg>
      </pc:sldChg>
      <pc:sldChg chg="addSp delSp modSp mod">
        <pc:chgData name="青山 大介(AOYAMA Daisuke)" userId="62e5c414-f8d4-431e-801f-75ea3be37d37" providerId="ADAL" clId="{8FA67D32-A119-4575-85CC-3B30BD8C10D2}" dt="2025-01-20T07:26:16.456" v="104" actId="1076"/>
        <pc:sldMkLst>
          <pc:docMk/>
          <pc:sldMk cId="1539400230" sldId="1806"/>
        </pc:sldMkLst>
        <pc:spChg chg="mod">
          <ac:chgData name="青山 大介(AOYAMA Daisuke)" userId="62e5c414-f8d4-431e-801f-75ea3be37d37" providerId="ADAL" clId="{8FA67D32-A119-4575-85CC-3B30BD8C10D2}" dt="2025-01-20T07:19:56.257" v="69" actId="1076"/>
          <ac:spMkLst>
            <pc:docMk/>
            <pc:sldMk cId="1539400230" sldId="1806"/>
            <ac:spMk id="10" creationId="{35543A15-5B1D-8CB3-2CC6-E1EA7F2D4B43}"/>
          </ac:spMkLst>
        </pc:spChg>
        <pc:spChg chg="add mod">
          <ac:chgData name="青山 大介(AOYAMA Daisuke)" userId="62e5c414-f8d4-431e-801f-75ea3be37d37" providerId="ADAL" clId="{8FA67D32-A119-4575-85CC-3B30BD8C10D2}" dt="2025-01-20T07:26:16.456" v="104" actId="1076"/>
          <ac:spMkLst>
            <pc:docMk/>
            <pc:sldMk cId="1539400230" sldId="1806"/>
            <ac:spMk id="15" creationId="{F9E540D2-6514-83F0-1E73-081FFF3F80C4}"/>
          </ac:spMkLst>
        </pc:spChg>
        <pc:spChg chg="del mod">
          <ac:chgData name="青山 大介(AOYAMA Daisuke)" userId="62e5c414-f8d4-431e-801f-75ea3be37d37" providerId="ADAL" clId="{8FA67D32-A119-4575-85CC-3B30BD8C10D2}" dt="2025-01-20T07:25:58.200" v="102" actId="478"/>
          <ac:spMkLst>
            <pc:docMk/>
            <pc:sldMk cId="1539400230" sldId="1806"/>
            <ac:spMk id="23" creationId="{E4C1C023-A7F7-8307-3383-F4CAF1FF2658}"/>
          </ac:spMkLst>
        </pc:spChg>
        <pc:graphicFrameChg chg="modGraphic">
          <ac:chgData name="青山 大介(AOYAMA Daisuke)" userId="62e5c414-f8d4-431e-801f-75ea3be37d37" providerId="ADAL" clId="{8FA67D32-A119-4575-85CC-3B30BD8C10D2}" dt="2025-01-20T07:05:14.282" v="15" actId="20577"/>
          <ac:graphicFrameMkLst>
            <pc:docMk/>
            <pc:sldMk cId="1539400230" sldId="1806"/>
            <ac:graphicFrameMk id="8" creationId="{37C17ED4-31B5-BE1E-4D38-25AA300C4F1B}"/>
          </ac:graphicFrameMkLst>
        </pc:graphicFrameChg>
      </pc:sldChg>
      <pc:sldChg chg="modSp mod">
        <pc:chgData name="青山 大介(AOYAMA Daisuke)" userId="62e5c414-f8d4-431e-801f-75ea3be37d37" providerId="ADAL" clId="{8FA67D32-A119-4575-85CC-3B30BD8C10D2}" dt="2025-01-20T07:39:17.153" v="107" actId="14100"/>
        <pc:sldMkLst>
          <pc:docMk/>
          <pc:sldMk cId="3361803510" sldId="1807"/>
        </pc:sldMkLst>
        <pc:spChg chg="mod">
          <ac:chgData name="青山 大介(AOYAMA Daisuke)" userId="62e5c414-f8d4-431e-801f-75ea3be37d37" providerId="ADAL" clId="{8FA67D32-A119-4575-85CC-3B30BD8C10D2}" dt="2025-01-20T07:39:17.153" v="107" actId="14100"/>
          <ac:spMkLst>
            <pc:docMk/>
            <pc:sldMk cId="3361803510" sldId="1807"/>
            <ac:spMk id="3" creationId="{992659FA-9BCC-7BE8-66D6-564C9B321D15}"/>
          </ac:spMkLst>
        </pc:spChg>
      </pc:sldChg>
    </pc:docChg>
  </pc:docChgLst>
  <pc:docChgLst>
    <pc:chgData name="佐々木 琢磨(SASAKI Takuma)" userId="6d4c5d6b-d31e-4202-b663-3f2819138080" providerId="ADAL" clId="{F942436F-2B40-4AE2-A117-971FDF502CE1}"/>
    <pc:docChg chg="modSld">
      <pc:chgData name="佐々木 琢磨(SASAKI Takuma)" userId="6d4c5d6b-d31e-4202-b663-3f2819138080" providerId="ADAL" clId="{F942436F-2B40-4AE2-A117-971FDF502CE1}" dt="2024-02-21T01:50:54.962" v="9" actId="20577"/>
      <pc:docMkLst>
        <pc:docMk/>
      </pc:docMkLst>
      <pc:sldChg chg="modSp mod">
        <pc:chgData name="佐々木 琢磨(SASAKI Takuma)" userId="6d4c5d6b-d31e-4202-b663-3f2819138080" providerId="ADAL" clId="{F942436F-2B40-4AE2-A117-971FDF502CE1}" dt="2024-02-21T01:50:54.962" v="9" actId="20577"/>
        <pc:sldMkLst>
          <pc:docMk/>
          <pc:sldMk cId="1003148262" sldId="1799"/>
        </pc:sldMkLst>
        <pc:spChg chg="mod">
          <ac:chgData name="佐々木 琢磨(SASAKI Takuma)" userId="6d4c5d6b-d31e-4202-b663-3f2819138080" providerId="ADAL" clId="{F942436F-2B40-4AE2-A117-971FDF502CE1}" dt="2024-02-21T01:50:54.962" v="9" actId="20577"/>
          <ac:spMkLst>
            <pc:docMk/>
            <pc:sldMk cId="1003148262" sldId="1799"/>
            <ac:spMk id="5" creationId="{81D1DB79-8583-A99E-540E-8CB4E3888F88}"/>
          </ac:spMkLst>
        </pc:spChg>
      </pc:sldChg>
    </pc:docChg>
  </pc:docChgLst>
  <pc:docChgLst>
    <pc:chgData name="青山 大介(AOYAMA Daisuke)" userId="62e5c414-f8d4-431e-801f-75ea3be37d37" providerId="ADAL" clId="{AA45675A-C8F9-4F33-9EC3-4396F9B69953}"/>
    <pc:docChg chg="modSld">
      <pc:chgData name="青山 大介(AOYAMA Daisuke)" userId="62e5c414-f8d4-431e-801f-75ea3be37d37" providerId="ADAL" clId="{AA45675A-C8F9-4F33-9EC3-4396F9B69953}" dt="2024-12-26T20:06:49.542" v="5" actId="1076"/>
      <pc:docMkLst>
        <pc:docMk/>
      </pc:docMkLst>
      <pc:sldChg chg="modSp mod">
        <pc:chgData name="青山 大介(AOYAMA Daisuke)" userId="62e5c414-f8d4-431e-801f-75ea3be37d37" providerId="ADAL" clId="{AA45675A-C8F9-4F33-9EC3-4396F9B69953}" dt="2024-12-26T20:06:49.542" v="5" actId="1076"/>
        <pc:sldMkLst>
          <pc:docMk/>
          <pc:sldMk cId="786981567" sldId="1800"/>
        </pc:sldMkLst>
        <pc:spChg chg="mod">
          <ac:chgData name="青山 大介(AOYAMA Daisuke)" userId="62e5c414-f8d4-431e-801f-75ea3be37d37" providerId="ADAL" clId="{AA45675A-C8F9-4F33-9EC3-4396F9B69953}" dt="2024-12-26T20:06:49.542" v="5" actId="1076"/>
          <ac:spMkLst>
            <pc:docMk/>
            <pc:sldMk cId="786981567" sldId="1800"/>
            <ac:spMk id="2" creationId="{5F2D8408-1CA6-F273-B2C3-DAE07E0C2F44}"/>
          </ac:spMkLst>
        </pc:spChg>
        <pc:spChg chg="mod">
          <ac:chgData name="青山 大介(AOYAMA Daisuke)" userId="62e5c414-f8d4-431e-801f-75ea3be37d37" providerId="ADAL" clId="{AA45675A-C8F9-4F33-9EC3-4396F9B69953}" dt="2024-12-26T20:06:35.764" v="4" actId="14100"/>
          <ac:spMkLst>
            <pc:docMk/>
            <pc:sldMk cId="786981567" sldId="1800"/>
            <ac:spMk id="3" creationId="{13CF5F74-B0CC-0804-84B5-AA312627120F}"/>
          </ac:spMkLst>
        </pc:spChg>
        <pc:spChg chg="mod">
          <ac:chgData name="青山 大介(AOYAMA Daisuke)" userId="62e5c414-f8d4-431e-801f-75ea3be37d37" providerId="ADAL" clId="{AA45675A-C8F9-4F33-9EC3-4396F9B69953}" dt="2024-12-26T20:06:20.206" v="1" actId="1076"/>
          <ac:spMkLst>
            <pc:docMk/>
            <pc:sldMk cId="786981567" sldId="1800"/>
            <ac:spMk id="4" creationId="{12809128-2959-884E-4E45-A5144B64E61E}"/>
          </ac:spMkLst>
        </pc:spChg>
      </pc:sldChg>
    </pc:docChg>
  </pc:docChgLst>
  <pc:docChgLst>
    <pc:chgData name="澤村 僚(SAWAMURA Ryo)" userId="4cfe6057-f08c-4400-b030-3b1cc012e179" providerId="ADAL" clId="{546E6E7F-BB68-41D2-9EC6-8BC240A9A6CE}"/>
    <pc:docChg chg="undo custSel modSld">
      <pc:chgData name="澤村 僚(SAWAMURA Ryo)" userId="4cfe6057-f08c-4400-b030-3b1cc012e179" providerId="ADAL" clId="{546E6E7F-BB68-41D2-9EC6-8BC240A9A6CE}" dt="2024-12-25T04:17:05.343" v="135" actId="20577"/>
      <pc:docMkLst>
        <pc:docMk/>
      </pc:docMkLst>
      <pc:sldChg chg="delSp modSp mod">
        <pc:chgData name="澤村 僚(SAWAMURA Ryo)" userId="4cfe6057-f08c-4400-b030-3b1cc012e179" providerId="ADAL" clId="{546E6E7F-BB68-41D2-9EC6-8BC240A9A6CE}" dt="2024-12-25T04:17:05.343" v="135" actId="20577"/>
        <pc:sldMkLst>
          <pc:docMk/>
          <pc:sldMk cId="1731062681" sldId="1801"/>
        </pc:sldMkLst>
        <pc:spChg chg="mod">
          <ac:chgData name="澤村 僚(SAWAMURA Ryo)" userId="4cfe6057-f08c-4400-b030-3b1cc012e179" providerId="ADAL" clId="{546E6E7F-BB68-41D2-9EC6-8BC240A9A6CE}" dt="2024-12-18T08:23:43.053" v="88" actId="1076"/>
          <ac:spMkLst>
            <pc:docMk/>
            <pc:sldMk cId="1731062681" sldId="1801"/>
            <ac:spMk id="9" creationId="{4EF196C3-6C2F-EAEC-23CC-6D7341178A1C}"/>
          </ac:spMkLst>
        </pc:spChg>
        <pc:spChg chg="del">
          <ac:chgData name="澤村 僚(SAWAMURA Ryo)" userId="4cfe6057-f08c-4400-b030-3b1cc012e179" providerId="ADAL" clId="{546E6E7F-BB68-41D2-9EC6-8BC240A9A6CE}" dt="2024-12-18T08:23:48.386" v="89" actId="478"/>
          <ac:spMkLst>
            <pc:docMk/>
            <pc:sldMk cId="1731062681" sldId="1801"/>
            <ac:spMk id="10" creationId="{35543A15-5B1D-8CB3-2CC6-E1EA7F2D4B43}"/>
          </ac:spMkLst>
        </pc:spChg>
        <pc:spChg chg="mod">
          <ac:chgData name="澤村 僚(SAWAMURA Ryo)" userId="4cfe6057-f08c-4400-b030-3b1cc012e179" providerId="ADAL" clId="{546E6E7F-BB68-41D2-9EC6-8BC240A9A6CE}" dt="2024-12-25T04:17:05.343" v="135" actId="20577"/>
          <ac:spMkLst>
            <pc:docMk/>
            <pc:sldMk cId="1731062681" sldId="1801"/>
            <ac:spMk id="23" creationId="{E4C1C023-A7F7-8307-3383-F4CAF1FF2658}"/>
          </ac:spMkLst>
        </pc:spChg>
        <pc:graphicFrameChg chg="mod modGraphic">
          <ac:chgData name="澤村 僚(SAWAMURA Ryo)" userId="4cfe6057-f08c-4400-b030-3b1cc012e179" providerId="ADAL" clId="{546E6E7F-BB68-41D2-9EC6-8BC240A9A6CE}" dt="2024-12-18T07:57:03.806" v="87" actId="255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</pc:docChg>
  </pc:docChgLst>
  <pc:docChgLst>
    <pc:chgData name="澤村 僚(SAWAMURA Ryo)" userId="4cfe6057-f08c-4400-b030-3b1cc012e179" providerId="ADAL" clId="{E43C68B4-1EC5-4584-9729-1AE755622A99}"/>
    <pc:docChg chg="modSld">
      <pc:chgData name="澤村 僚(SAWAMURA Ryo)" userId="4cfe6057-f08c-4400-b030-3b1cc012e179" providerId="ADAL" clId="{E43C68B4-1EC5-4584-9729-1AE755622A99}" dt="2024-12-26T01:08:21.611" v="29" actId="1076"/>
      <pc:docMkLst>
        <pc:docMk/>
      </pc:docMkLst>
      <pc:sldChg chg="addSp modSp mod">
        <pc:chgData name="澤村 僚(SAWAMURA Ryo)" userId="4cfe6057-f08c-4400-b030-3b1cc012e179" providerId="ADAL" clId="{E43C68B4-1EC5-4584-9729-1AE755622A99}" dt="2024-12-26T01:08:21.611" v="29" actId="1076"/>
        <pc:sldMkLst>
          <pc:docMk/>
          <pc:sldMk cId="786981567" sldId="1800"/>
        </pc:sldMkLst>
        <pc:spChg chg="mod">
          <ac:chgData name="澤村 僚(SAWAMURA Ryo)" userId="4cfe6057-f08c-4400-b030-3b1cc012e179" providerId="ADAL" clId="{E43C68B4-1EC5-4584-9729-1AE755622A99}" dt="2024-12-25T18:08:16.443" v="8" actId="1076"/>
          <ac:spMkLst>
            <pc:docMk/>
            <pc:sldMk cId="786981567" sldId="1800"/>
            <ac:spMk id="2" creationId="{5F2D8408-1CA6-F273-B2C3-DAE07E0C2F44}"/>
          </ac:spMkLst>
        </pc:spChg>
        <pc:spChg chg="mod">
          <ac:chgData name="澤村 僚(SAWAMURA Ryo)" userId="4cfe6057-f08c-4400-b030-3b1cc012e179" providerId="ADAL" clId="{E43C68B4-1EC5-4584-9729-1AE755622A99}" dt="2024-12-25T18:08:34.326" v="15" actId="14100"/>
          <ac:spMkLst>
            <pc:docMk/>
            <pc:sldMk cId="786981567" sldId="1800"/>
            <ac:spMk id="3" creationId="{13CF5F74-B0CC-0804-84B5-AA312627120F}"/>
          </ac:spMkLst>
        </pc:spChg>
        <pc:spChg chg="add mod">
          <ac:chgData name="澤村 僚(SAWAMURA Ryo)" userId="4cfe6057-f08c-4400-b030-3b1cc012e179" providerId="ADAL" clId="{E43C68B4-1EC5-4584-9729-1AE755622A99}" dt="2024-12-26T01:08:21.611" v="29" actId="1076"/>
          <ac:spMkLst>
            <pc:docMk/>
            <pc:sldMk cId="786981567" sldId="1800"/>
            <ac:spMk id="4" creationId="{12809128-2959-884E-4E45-A5144B64E61E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4763" y="0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07F553-7001-4227-B33B-DA2FCF15A3BD}" type="datetimeFigureOut">
              <a:rPr kumimoji="1" lang="ja-JP" altLang="en-US" smtClean="0"/>
              <a:t>2025/12/12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2216150" y="1233488"/>
            <a:ext cx="230346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100" y="4748213"/>
            <a:ext cx="5389563" cy="38846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013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4763" y="9371013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0DC887-1993-48D3-9381-3C0758CEE87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096633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2216150" y="1233488"/>
            <a:ext cx="2303463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0DC887-1993-48D3-9381-3C0758CEE87D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011847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2216150" y="1233488"/>
            <a:ext cx="2303463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0DC887-1993-48D3-9381-3C0758CEE87D}" type="slidenum">
              <a:rPr kumimoji="1" lang="ja-JP" altLang="en-US" smtClean="0"/>
              <a:t>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178827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ziden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737EAF87-0426-4F42-AA4D-9F8BDC1F4569}"/>
              </a:ext>
            </a:extLst>
          </p:cNvPr>
          <p:cNvSpPr/>
          <p:nvPr userDrawn="1"/>
        </p:nvSpPr>
        <p:spPr>
          <a:xfrm>
            <a:off x="-3732" y="3"/>
            <a:ext cx="6861734" cy="896549"/>
          </a:xfrm>
          <a:prstGeom prst="rect">
            <a:avLst/>
          </a:prstGeom>
          <a:solidFill>
            <a:schemeClr val="accent2">
              <a:alpha val="40000"/>
            </a:schemeClr>
          </a:solidFill>
          <a:ln w="952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kumimoji="1" lang="ja-JP" altLang="en-US" sz="2022">
              <a:solidFill>
                <a:schemeClr val="tx1"/>
              </a:solidFill>
            </a:endParaRPr>
          </a:p>
        </p:txBody>
      </p:sp>
      <p:sp>
        <p:nvSpPr>
          <p:cNvPr id="11" name="テキスト プレースホルダー 10">
            <a:extLst>
              <a:ext uri="{FF2B5EF4-FFF2-40B4-BE49-F238E27FC236}">
                <a16:creationId xmlns:a16="http://schemas.microsoft.com/office/drawing/2014/main" id="{BDAAC19C-5907-48FD-8BFF-C821FD2FE0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34636" y="272483"/>
            <a:ext cx="6588732" cy="624066"/>
          </a:xfrm>
        </p:spPr>
        <p:txBody>
          <a:bodyPr/>
          <a:lstStyle>
            <a:lvl1pPr>
              <a:spcAft>
                <a:spcPts val="867"/>
              </a:spcAft>
              <a:defRPr sz="28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BA7BEE0-9CFE-417F-9899-BCA0080D20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98946" y="9529551"/>
            <a:ext cx="224420" cy="222240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1444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3" name="直線コネクタ 2">
            <a:extLst>
              <a:ext uri="{FF2B5EF4-FFF2-40B4-BE49-F238E27FC236}">
                <a16:creationId xmlns:a16="http://schemas.microsoft.com/office/drawing/2014/main" id="{5690B957-8A5D-4B27-B4CA-1738C7C46B16}"/>
              </a:ext>
            </a:extLst>
          </p:cNvPr>
          <p:cNvCxnSpPr/>
          <p:nvPr userDrawn="1"/>
        </p:nvCxnSpPr>
        <p:spPr>
          <a:xfrm>
            <a:off x="0" y="896549"/>
            <a:ext cx="68580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86376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B560C01-06A1-A163-D5BA-E32CF5899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193" y="2469624"/>
            <a:ext cx="5915025" cy="4120620"/>
          </a:xfrm>
        </p:spPr>
        <p:txBody>
          <a:bodyPr anchor="b"/>
          <a:lstStyle>
            <a:lvl1pPr>
              <a:defRPr sz="8665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F42E7C34-522B-0110-F057-013D5CBFB2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8193" y="6629229"/>
            <a:ext cx="5915025" cy="2166937"/>
          </a:xfrm>
        </p:spPr>
        <p:txBody>
          <a:bodyPr/>
          <a:lstStyle>
            <a:lvl1pPr marL="0" indent="0">
              <a:buNone/>
              <a:defRPr sz="3467">
                <a:solidFill>
                  <a:schemeClr val="tx1">
                    <a:tint val="75000"/>
                  </a:schemeClr>
                </a:solidFill>
              </a:defRPr>
            </a:lvl1pPr>
            <a:lvl2pPr marL="660325" indent="0">
              <a:buNone/>
              <a:defRPr sz="2889">
                <a:solidFill>
                  <a:schemeClr val="tx1">
                    <a:tint val="75000"/>
                  </a:schemeClr>
                </a:solidFill>
              </a:defRPr>
            </a:lvl2pPr>
            <a:lvl3pPr marL="1320648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3pPr>
            <a:lvl4pPr marL="1980974" indent="0">
              <a:buNone/>
              <a:defRPr sz="2311">
                <a:solidFill>
                  <a:schemeClr val="tx1">
                    <a:tint val="75000"/>
                  </a:schemeClr>
                </a:solidFill>
              </a:defRPr>
            </a:lvl4pPr>
            <a:lvl5pPr marL="2641298" indent="0">
              <a:buNone/>
              <a:defRPr sz="2311">
                <a:solidFill>
                  <a:schemeClr val="tx1">
                    <a:tint val="75000"/>
                  </a:schemeClr>
                </a:solidFill>
              </a:defRPr>
            </a:lvl5pPr>
            <a:lvl6pPr marL="3301621" indent="0">
              <a:buNone/>
              <a:defRPr sz="2311">
                <a:solidFill>
                  <a:schemeClr val="tx1">
                    <a:tint val="75000"/>
                  </a:schemeClr>
                </a:solidFill>
              </a:defRPr>
            </a:lvl6pPr>
            <a:lvl7pPr marL="3961946" indent="0">
              <a:buNone/>
              <a:defRPr sz="2311">
                <a:solidFill>
                  <a:schemeClr val="tx1">
                    <a:tint val="75000"/>
                  </a:schemeClr>
                </a:solidFill>
              </a:defRPr>
            </a:lvl7pPr>
            <a:lvl8pPr marL="4622271" indent="0">
              <a:buNone/>
              <a:defRPr sz="2311">
                <a:solidFill>
                  <a:schemeClr val="tx1">
                    <a:tint val="75000"/>
                  </a:schemeClr>
                </a:solidFill>
              </a:defRPr>
            </a:lvl8pPr>
            <a:lvl9pPr marL="5282595" indent="0">
              <a:buNone/>
              <a:defRPr sz="231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48CB8276-2F02-86AA-4761-DEBD748E7D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12/12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5BDB391A-E4F3-16FE-0DB7-841361CCB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F8F9B42A-EDA7-6410-5551-5CE3C21721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270905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4B08F37-66A6-7609-93B4-C672F569BF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07FA8512-50F2-E102-C554-6D300C5ED0E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1489" y="2637014"/>
            <a:ext cx="2904758" cy="6285266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C59C3A24-C601-DD85-C23B-C05FA645EE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481756" y="2637014"/>
            <a:ext cx="2904759" cy="6285266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15ABA329-96A0-CB63-EFE5-0654FC68B1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12/12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3D897446-E052-D845-5C19-9E5932917A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C3DE5295-93B3-6EF7-C4E3-AB9786089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596936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B545AC2-4C8F-2861-A9C8-BF01F1365D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89" y="527408"/>
            <a:ext cx="5915025" cy="1914702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257AEEFB-014D-05BB-4AF6-6B668CCEA0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2586" y="2428348"/>
            <a:ext cx="2901462" cy="1190095"/>
          </a:xfrm>
        </p:spPr>
        <p:txBody>
          <a:bodyPr anchor="b"/>
          <a:lstStyle>
            <a:lvl1pPr marL="0" indent="0">
              <a:buNone/>
              <a:defRPr sz="3467" b="1"/>
            </a:lvl1pPr>
            <a:lvl2pPr marL="660325" indent="0">
              <a:buNone/>
              <a:defRPr sz="2889" b="1"/>
            </a:lvl2pPr>
            <a:lvl3pPr marL="1320648" indent="0">
              <a:buNone/>
              <a:defRPr sz="2600" b="1"/>
            </a:lvl3pPr>
            <a:lvl4pPr marL="1980974" indent="0">
              <a:buNone/>
              <a:defRPr sz="2311" b="1"/>
            </a:lvl4pPr>
            <a:lvl5pPr marL="2641298" indent="0">
              <a:buNone/>
              <a:defRPr sz="2311" b="1"/>
            </a:lvl5pPr>
            <a:lvl6pPr marL="3301621" indent="0">
              <a:buNone/>
              <a:defRPr sz="2311" b="1"/>
            </a:lvl6pPr>
            <a:lvl7pPr marL="3961946" indent="0">
              <a:buNone/>
              <a:defRPr sz="2311" b="1"/>
            </a:lvl7pPr>
            <a:lvl8pPr marL="4622271" indent="0">
              <a:buNone/>
              <a:defRPr sz="2311" b="1"/>
            </a:lvl8pPr>
            <a:lvl9pPr marL="5282595" indent="0">
              <a:buNone/>
              <a:defRPr sz="2311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EA30470D-EFB2-CA9B-B124-4B1E65FE5D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2586" y="3618443"/>
            <a:ext cx="2901462" cy="5322183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882CE0DF-012A-6BD8-CC58-2E0EA91375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471866" y="2428348"/>
            <a:ext cx="2915749" cy="1190095"/>
          </a:xfrm>
        </p:spPr>
        <p:txBody>
          <a:bodyPr anchor="b"/>
          <a:lstStyle>
            <a:lvl1pPr marL="0" indent="0">
              <a:buNone/>
              <a:defRPr sz="3467" b="1"/>
            </a:lvl1pPr>
            <a:lvl2pPr marL="660325" indent="0">
              <a:buNone/>
              <a:defRPr sz="2889" b="1"/>
            </a:lvl2pPr>
            <a:lvl3pPr marL="1320648" indent="0">
              <a:buNone/>
              <a:defRPr sz="2600" b="1"/>
            </a:lvl3pPr>
            <a:lvl4pPr marL="1980974" indent="0">
              <a:buNone/>
              <a:defRPr sz="2311" b="1"/>
            </a:lvl4pPr>
            <a:lvl5pPr marL="2641298" indent="0">
              <a:buNone/>
              <a:defRPr sz="2311" b="1"/>
            </a:lvl5pPr>
            <a:lvl6pPr marL="3301621" indent="0">
              <a:buNone/>
              <a:defRPr sz="2311" b="1"/>
            </a:lvl6pPr>
            <a:lvl7pPr marL="3961946" indent="0">
              <a:buNone/>
              <a:defRPr sz="2311" b="1"/>
            </a:lvl7pPr>
            <a:lvl8pPr marL="4622271" indent="0">
              <a:buNone/>
              <a:defRPr sz="2311" b="1"/>
            </a:lvl8pPr>
            <a:lvl9pPr marL="5282595" indent="0">
              <a:buNone/>
              <a:defRPr sz="2311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>
            <a:extLst>
              <a:ext uri="{FF2B5EF4-FFF2-40B4-BE49-F238E27FC236}">
                <a16:creationId xmlns:a16="http://schemas.microsoft.com/office/drawing/2014/main" id="{A3C3C357-0157-23E6-A181-CD77B66DA10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3471866" y="3618443"/>
            <a:ext cx="2915749" cy="5322183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>
            <a:extLst>
              <a:ext uri="{FF2B5EF4-FFF2-40B4-BE49-F238E27FC236}">
                <a16:creationId xmlns:a16="http://schemas.microsoft.com/office/drawing/2014/main" id="{1E2ACD90-711E-2946-DC15-35A0684D26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12/12</a:t>
            </a:fld>
            <a:endParaRPr kumimoji="1" lang="ja-JP" altLang="en-US"/>
          </a:p>
        </p:txBody>
      </p:sp>
      <p:sp>
        <p:nvSpPr>
          <p:cNvPr id="8" name="フッター プレースホルダー 7">
            <a:extLst>
              <a:ext uri="{FF2B5EF4-FFF2-40B4-BE49-F238E27FC236}">
                <a16:creationId xmlns:a16="http://schemas.microsoft.com/office/drawing/2014/main" id="{C7E1B447-53AF-219C-7A27-884C303E2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>
            <a:extLst>
              <a:ext uri="{FF2B5EF4-FFF2-40B4-BE49-F238E27FC236}">
                <a16:creationId xmlns:a16="http://schemas.microsoft.com/office/drawing/2014/main" id="{10C5A81E-5539-11E4-977C-2B67062559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885100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B8746C8-549D-EB75-5EC3-98E3C59C68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C4D69DA2-213D-6BD3-DA5F-E7F836752E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12/12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E421E2FD-94F6-E6B3-6438-0BC417693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C01B44B2-3403-790E-2575-2373BA4B4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760046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D0EF4A14-9697-756C-DE1E-23F55F5199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12/12</a:t>
            </a:fld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41887799-4FDD-55FD-05C8-06427FEAF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14E043EA-6CA2-0360-EB86-AA459F204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792500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0583AB58-2E83-6A33-C3ED-21ADA5259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90" y="660400"/>
            <a:ext cx="2211265" cy="2311400"/>
          </a:xfrm>
        </p:spPr>
        <p:txBody>
          <a:bodyPr anchor="b"/>
          <a:lstStyle>
            <a:lvl1pPr>
              <a:defRPr sz="4622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267324E4-88FE-FCF6-D8A8-A74D1412B5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15749" y="1426285"/>
            <a:ext cx="3471863" cy="7039681"/>
          </a:xfrm>
        </p:spPr>
        <p:txBody>
          <a:bodyPr/>
          <a:lstStyle>
            <a:lvl1pPr>
              <a:defRPr sz="4622"/>
            </a:lvl1pPr>
            <a:lvl2pPr>
              <a:defRPr sz="4044"/>
            </a:lvl2pPr>
            <a:lvl3pPr>
              <a:defRPr sz="3467"/>
            </a:lvl3pPr>
            <a:lvl4pPr>
              <a:defRPr sz="2889"/>
            </a:lvl4pPr>
            <a:lvl5pPr>
              <a:defRPr sz="2889"/>
            </a:lvl5pPr>
            <a:lvl6pPr>
              <a:defRPr sz="2889"/>
            </a:lvl6pPr>
            <a:lvl7pPr>
              <a:defRPr sz="2889"/>
            </a:lvl7pPr>
            <a:lvl8pPr>
              <a:defRPr sz="2889"/>
            </a:lvl8pPr>
            <a:lvl9pPr>
              <a:defRPr sz="2889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6957D19-F7C3-002F-93DD-626C828A77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2590" y="2971800"/>
            <a:ext cx="2211265" cy="5505627"/>
          </a:xfrm>
        </p:spPr>
        <p:txBody>
          <a:bodyPr/>
          <a:lstStyle>
            <a:lvl1pPr marL="0" indent="0">
              <a:buNone/>
              <a:defRPr sz="2311"/>
            </a:lvl1pPr>
            <a:lvl2pPr marL="660325" indent="0">
              <a:buNone/>
              <a:defRPr sz="2022"/>
            </a:lvl2pPr>
            <a:lvl3pPr marL="1320648" indent="0">
              <a:buNone/>
              <a:defRPr sz="1733"/>
            </a:lvl3pPr>
            <a:lvl4pPr marL="1980974" indent="0">
              <a:buNone/>
              <a:defRPr sz="1444"/>
            </a:lvl4pPr>
            <a:lvl5pPr marL="2641298" indent="0">
              <a:buNone/>
              <a:defRPr sz="1444"/>
            </a:lvl5pPr>
            <a:lvl6pPr marL="3301621" indent="0">
              <a:buNone/>
              <a:defRPr sz="1444"/>
            </a:lvl6pPr>
            <a:lvl7pPr marL="3961946" indent="0">
              <a:buNone/>
              <a:defRPr sz="1444"/>
            </a:lvl7pPr>
            <a:lvl8pPr marL="4622271" indent="0">
              <a:buNone/>
              <a:defRPr sz="1444"/>
            </a:lvl8pPr>
            <a:lvl9pPr marL="5282595" indent="0">
              <a:buNone/>
              <a:defRPr sz="1444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196D689F-5BE9-4036-BE9D-E5A303F353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12/12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0AEA9A97-31BB-681B-B611-84B0DC121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C942E953-695D-0D38-9E79-9E350761F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953728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FEACF9D-D1B3-532E-9BDF-C61331A6B4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90" y="660400"/>
            <a:ext cx="2211265" cy="2311400"/>
          </a:xfrm>
        </p:spPr>
        <p:txBody>
          <a:bodyPr anchor="b"/>
          <a:lstStyle>
            <a:lvl1pPr>
              <a:defRPr sz="4622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8BD5ACE6-9B17-FF3C-20F8-1156B0B629A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2915749" y="1426285"/>
            <a:ext cx="3471863" cy="7039681"/>
          </a:xfrm>
        </p:spPr>
        <p:txBody>
          <a:bodyPr/>
          <a:lstStyle>
            <a:lvl1pPr marL="0" indent="0">
              <a:buNone/>
              <a:defRPr sz="4622"/>
            </a:lvl1pPr>
            <a:lvl2pPr marL="660325" indent="0">
              <a:buNone/>
              <a:defRPr sz="4044"/>
            </a:lvl2pPr>
            <a:lvl3pPr marL="1320648" indent="0">
              <a:buNone/>
              <a:defRPr sz="3467"/>
            </a:lvl3pPr>
            <a:lvl4pPr marL="1980974" indent="0">
              <a:buNone/>
              <a:defRPr sz="2889"/>
            </a:lvl4pPr>
            <a:lvl5pPr marL="2641298" indent="0">
              <a:buNone/>
              <a:defRPr sz="2889"/>
            </a:lvl5pPr>
            <a:lvl6pPr marL="3301621" indent="0">
              <a:buNone/>
              <a:defRPr sz="2889"/>
            </a:lvl6pPr>
            <a:lvl7pPr marL="3961946" indent="0">
              <a:buNone/>
              <a:defRPr sz="2889"/>
            </a:lvl7pPr>
            <a:lvl8pPr marL="4622271" indent="0">
              <a:buNone/>
              <a:defRPr sz="2889"/>
            </a:lvl8pPr>
            <a:lvl9pPr marL="5282595" indent="0">
              <a:buNone/>
              <a:defRPr sz="2889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7FACCC17-C86E-83A3-27CC-80DC220F9E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2590" y="2971800"/>
            <a:ext cx="2211265" cy="5505627"/>
          </a:xfrm>
        </p:spPr>
        <p:txBody>
          <a:bodyPr/>
          <a:lstStyle>
            <a:lvl1pPr marL="0" indent="0">
              <a:buNone/>
              <a:defRPr sz="2311"/>
            </a:lvl1pPr>
            <a:lvl2pPr marL="660325" indent="0">
              <a:buNone/>
              <a:defRPr sz="2022"/>
            </a:lvl2pPr>
            <a:lvl3pPr marL="1320648" indent="0">
              <a:buNone/>
              <a:defRPr sz="1733"/>
            </a:lvl3pPr>
            <a:lvl4pPr marL="1980974" indent="0">
              <a:buNone/>
              <a:defRPr sz="1444"/>
            </a:lvl4pPr>
            <a:lvl5pPr marL="2641298" indent="0">
              <a:buNone/>
              <a:defRPr sz="1444"/>
            </a:lvl5pPr>
            <a:lvl6pPr marL="3301621" indent="0">
              <a:buNone/>
              <a:defRPr sz="1444"/>
            </a:lvl6pPr>
            <a:lvl7pPr marL="3961946" indent="0">
              <a:buNone/>
              <a:defRPr sz="1444"/>
            </a:lvl7pPr>
            <a:lvl8pPr marL="4622271" indent="0">
              <a:buNone/>
              <a:defRPr sz="1444"/>
            </a:lvl8pPr>
            <a:lvl9pPr marL="5282595" indent="0">
              <a:buNone/>
              <a:defRPr sz="1444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53ABD50C-C609-8025-4856-9AA643B339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12/12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72855E51-BD1E-489A-3A81-F33D06A43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EEA793E5-2704-4559-EDA4-08584095A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294537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B610385-3531-8BEB-FA75-B135E9EEC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367CE8E6-977A-9F3A-D91D-2C018B381B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37BDE191-EB0C-9956-4675-7B7C938DAA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12/12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3B2469FB-AB60-FDD6-2951-D09C3598D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F19C0293-4FCA-EF66-ACEC-66EF66AE7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398233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>
            <a:extLst>
              <a:ext uri="{FF2B5EF4-FFF2-40B4-BE49-F238E27FC236}">
                <a16:creationId xmlns:a16="http://schemas.microsoft.com/office/drawing/2014/main" id="{50FD8AE1-8568-4FCF-3859-B71EC480335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4908307" y="527403"/>
            <a:ext cx="1478207" cy="8394877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2679ED7F-5894-DEB0-35E7-EDF0A5FDBE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31310" cy="8394877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FBBBEB66-3EF9-8911-3982-D9A96C2254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12/12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E8285B19-61AD-7DFC-FEC9-E2B76284F6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D40B56F2-A782-F5D3-AE71-4C70FCD49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738346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ziden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737EAF87-0426-4F42-AA4D-9F8BDC1F4569}"/>
              </a:ext>
            </a:extLst>
          </p:cNvPr>
          <p:cNvSpPr/>
          <p:nvPr userDrawn="1"/>
        </p:nvSpPr>
        <p:spPr>
          <a:xfrm>
            <a:off x="-3732" y="4"/>
            <a:ext cx="6861734" cy="560540"/>
          </a:xfrm>
          <a:prstGeom prst="rect">
            <a:avLst/>
          </a:prstGeom>
          <a:solidFill>
            <a:srgbClr val="0089EB">
              <a:alpha val="40000"/>
            </a:srgbClr>
          </a:solidFill>
          <a:ln w="9525"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kumimoji="1" lang="ja-JP" altLang="en-US" sz="2022">
              <a:solidFill>
                <a:schemeClr val="tx1"/>
              </a:solidFill>
            </a:endParaRPr>
          </a:p>
        </p:txBody>
      </p:sp>
      <p:sp>
        <p:nvSpPr>
          <p:cNvPr id="11" name="テキスト プレースホルダー 10">
            <a:extLst>
              <a:ext uri="{FF2B5EF4-FFF2-40B4-BE49-F238E27FC236}">
                <a16:creationId xmlns:a16="http://schemas.microsoft.com/office/drawing/2014/main" id="{BDAAC19C-5907-48FD-8BFF-C821FD2FE0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0728" y="118099"/>
            <a:ext cx="6588732" cy="624066"/>
          </a:xfrm>
        </p:spPr>
        <p:txBody>
          <a:bodyPr/>
          <a:lstStyle>
            <a:lvl1pPr>
              <a:spcAft>
                <a:spcPts val="867"/>
              </a:spcAft>
              <a:defRPr sz="28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BA7BEE0-9CFE-417F-9899-BCA0080D20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98946" y="9529551"/>
            <a:ext cx="224420" cy="222240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1444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3" name="直線コネクタ 2">
            <a:extLst>
              <a:ext uri="{FF2B5EF4-FFF2-40B4-BE49-F238E27FC236}">
                <a16:creationId xmlns:a16="http://schemas.microsoft.com/office/drawing/2014/main" id="{5690B957-8A5D-4B27-B4CA-1738C7C46B16}"/>
              </a:ext>
            </a:extLst>
          </p:cNvPr>
          <p:cNvCxnSpPr/>
          <p:nvPr userDrawn="1"/>
        </p:nvCxnSpPr>
        <p:spPr>
          <a:xfrm>
            <a:off x="-3732" y="560544"/>
            <a:ext cx="68580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3084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1000" y="2976390"/>
            <a:ext cx="6156000" cy="59298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433AD6-7E25-3440-A0A8-374B46CA70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6FB90E-F37C-5341-AEB0-5E882FB00C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000" y="584735"/>
            <a:ext cx="6156000" cy="197661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</p:spTree>
    <p:extLst>
      <p:ext uri="{BB962C8B-B14F-4D97-AF65-F5344CB8AC3E}">
        <p14:creationId xmlns:p14="http://schemas.microsoft.com/office/powerpoint/2010/main" val="2727287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CC116CF-C359-0344-A999-AE9F54D6B3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</p:spTree>
    <p:extLst>
      <p:ext uri="{BB962C8B-B14F-4D97-AF65-F5344CB8AC3E}">
        <p14:creationId xmlns:p14="http://schemas.microsoft.com/office/powerpoint/2010/main" val="42042345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E9B7AB-8379-3341-BEF5-2E85A7299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テキスト プレースホルダー 10">
            <a:extLst>
              <a:ext uri="{FF2B5EF4-FFF2-40B4-BE49-F238E27FC236}">
                <a16:creationId xmlns:a16="http://schemas.microsoft.com/office/drawing/2014/main" id="{3B05E39B-8BE4-42A3-9767-1A31E82336B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2676" y="3808873"/>
            <a:ext cx="5508612" cy="624066"/>
          </a:xfrm>
        </p:spPr>
        <p:txBody>
          <a:bodyPr/>
          <a:lstStyle>
            <a:lvl1pPr>
              <a:spcAft>
                <a:spcPts val="867"/>
              </a:spcAft>
              <a:defRPr sz="3467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C927317A-4728-4709-9304-87479DCCF0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72" y="4432941"/>
            <a:ext cx="3672408" cy="327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4208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E9B7AB-8379-3341-BEF5-2E85A7299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96603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02" y="2294"/>
          <a:ext cx="1099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2" y="2294"/>
                        <a:ext cx="1099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288694" y="2132000"/>
            <a:ext cx="6280615" cy="6968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867"/>
              </a:spcBef>
              <a:buFont typeface="Arial" pitchFamily="34" charset="0"/>
              <a:buNone/>
              <a:defRPr sz="1733" baseline="0">
                <a:latin typeface="+mn-lt"/>
                <a:ea typeface="+mn-ea"/>
                <a:cs typeface="+mn-cs"/>
                <a:sym typeface="+mn-lt"/>
              </a:defRPr>
            </a:lvl1pPr>
            <a:lvl2pPr marL="259969" indent="-259969">
              <a:lnSpc>
                <a:spcPct val="110000"/>
              </a:lnSpc>
              <a:spcBef>
                <a:spcPts val="867"/>
              </a:spcBef>
              <a:buFont typeface="Wingdings" pitchFamily="2" charset="2"/>
              <a:buChar char="n"/>
              <a:defRPr sz="1733" baseline="0">
                <a:latin typeface="+mn-lt"/>
                <a:ea typeface="+mn-ea"/>
                <a:cs typeface="+mn-cs"/>
                <a:sym typeface="+mn-lt"/>
              </a:defRPr>
            </a:lvl2pPr>
            <a:lvl3pPr marL="519941" indent="-259969">
              <a:lnSpc>
                <a:spcPct val="110000"/>
              </a:lnSpc>
              <a:spcBef>
                <a:spcPts val="867"/>
              </a:spcBef>
              <a:buFont typeface="Wingdings" pitchFamily="2" charset="2"/>
              <a:buChar char="Ø"/>
              <a:defRPr sz="1733" baseline="0">
                <a:latin typeface="+mn-lt"/>
                <a:ea typeface="+mn-ea"/>
                <a:cs typeface="+mn-cs"/>
                <a:sym typeface="+mn-lt"/>
              </a:defRPr>
            </a:lvl3pPr>
            <a:lvl4pPr marL="727917" indent="-207976">
              <a:lnSpc>
                <a:spcPct val="110000"/>
              </a:lnSpc>
              <a:spcBef>
                <a:spcPts val="867"/>
              </a:spcBef>
              <a:buFont typeface="Arial" pitchFamily="34" charset="0"/>
              <a:buChar char="•"/>
              <a:defRPr sz="1733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>
          <a:xfrm>
            <a:off x="163728" y="9529271"/>
            <a:ext cx="327013" cy="233462"/>
          </a:xfrm>
        </p:spPr>
        <p:txBody>
          <a:bodyPr anchor="ctr"/>
          <a:lstStyle>
            <a:lvl1pPr>
              <a:defRPr sz="1517" baseline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  <a:sym typeface="+mn-lt"/>
              </a:defRPr>
            </a:lvl1pPr>
          </a:lstStyle>
          <a:p>
            <a:pPr algn="l" defTabSz="660085">
              <a:defRPr/>
            </a:pPr>
            <a:fld id="{543A0986-838B-4D2A-A95C-8CB1738263FE}" type="slidenum">
              <a:rPr lang="ja-JP" altLang="en-US" smtClean="0">
                <a:solidFill>
                  <a:prstClr val="black"/>
                </a:solidFill>
              </a:rPr>
              <a:pPr algn="l" defTabSz="660085">
                <a:defRPr/>
              </a:pPr>
              <a:t>‹#›</a:t>
            </a:fld>
            <a:endParaRPr lang="ja-JP" altLang="en-US">
              <a:solidFill>
                <a:prstClr val="black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8345" y="1456000"/>
            <a:ext cx="3015692" cy="676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311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04992424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F568ACA-D2E4-4482-2BD9-DAB7633D8C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57250" y="1621191"/>
            <a:ext cx="5143500" cy="3448756"/>
          </a:xfrm>
        </p:spPr>
        <p:txBody>
          <a:bodyPr anchor="b"/>
          <a:lstStyle>
            <a:lvl1pPr algn="ctr">
              <a:defRPr sz="8665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7843FB25-6DB9-5AE9-EBA6-99776168CC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3467"/>
            </a:lvl1pPr>
            <a:lvl2pPr marL="660325" indent="0" algn="ctr">
              <a:buNone/>
              <a:defRPr sz="2889"/>
            </a:lvl2pPr>
            <a:lvl3pPr marL="1320648" indent="0" algn="ctr">
              <a:buNone/>
              <a:defRPr sz="2600"/>
            </a:lvl3pPr>
            <a:lvl4pPr marL="1980974" indent="0" algn="ctr">
              <a:buNone/>
              <a:defRPr sz="2311"/>
            </a:lvl4pPr>
            <a:lvl5pPr marL="2641298" indent="0" algn="ctr">
              <a:buNone/>
              <a:defRPr sz="2311"/>
            </a:lvl5pPr>
            <a:lvl6pPr marL="3301621" indent="0" algn="ctr">
              <a:buNone/>
              <a:defRPr sz="2311"/>
            </a:lvl6pPr>
            <a:lvl7pPr marL="3961946" indent="0" algn="ctr">
              <a:buNone/>
              <a:defRPr sz="2311"/>
            </a:lvl7pPr>
            <a:lvl8pPr marL="4622271" indent="0" algn="ctr">
              <a:buNone/>
              <a:defRPr sz="2311"/>
            </a:lvl8pPr>
            <a:lvl9pPr marL="5282595" indent="0" algn="ctr">
              <a:buNone/>
              <a:defRPr sz="2311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413F7680-3B70-9DD4-230A-80D58E0EE3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12/12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76AB1268-44E9-715B-7017-C48D9593C4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1D6E6843-8558-B6BE-AA8D-3DCEC0D702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912432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22AE054-FE86-8B86-CAF4-190540493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B6B280EA-5C0F-D77A-2D91-FA8F3FC15B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BC566547-7CC3-ADF8-FA2B-F8EA9CEA2B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12/12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7F222A2C-79C8-D182-11D8-2635CA01B0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CDF8E54A-E949-FF7E-E2BB-B21972485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111291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0766" y="584735"/>
            <a:ext cx="6156000" cy="19766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[Slide title]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1000" y="2976390"/>
            <a:ext cx="6156000" cy="59298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98946" y="9529551"/>
            <a:ext cx="224420" cy="222240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1444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5875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90487" rtl="0" eaLnBrk="1" latinLnBrk="0" hangingPunct="1">
        <a:lnSpc>
          <a:spcPct val="100000"/>
        </a:lnSpc>
        <a:spcBef>
          <a:spcPct val="0"/>
        </a:spcBef>
        <a:buNone/>
        <a:defRPr sz="40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90487" rtl="0" eaLnBrk="1" latinLnBrk="0" hangingPunct="1">
        <a:lnSpc>
          <a:spcPct val="100000"/>
        </a:lnSpc>
        <a:spcBef>
          <a:spcPts val="0"/>
        </a:spcBef>
        <a:spcAft>
          <a:spcPts val="1733"/>
        </a:spcAft>
        <a:buFont typeface="Arial" panose="020B0604020202020204" pitchFamily="34" charset="0"/>
        <a:buNone/>
        <a:defRPr sz="2311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90487" rtl="0" eaLnBrk="1" latinLnBrk="0" hangingPunct="1">
        <a:lnSpc>
          <a:spcPct val="100000"/>
        </a:lnSpc>
        <a:spcBef>
          <a:spcPts val="0"/>
        </a:spcBef>
        <a:spcAft>
          <a:spcPts val="867"/>
        </a:spcAft>
        <a:buFont typeface="Arial" panose="020B0604020202020204" pitchFamily="34" charset="0"/>
        <a:buNone/>
        <a:defRPr sz="2022" kern="1200">
          <a:solidFill>
            <a:schemeClr val="tx1"/>
          </a:solidFill>
          <a:latin typeface="+mn-lt"/>
          <a:ea typeface="+mn-ea"/>
          <a:cs typeface="+mn-cs"/>
        </a:defRPr>
      </a:lvl2pPr>
      <a:lvl3pPr marL="264129" indent="-264129" algn="l" defTabSz="990487" rtl="0" eaLnBrk="1" latinLnBrk="0" hangingPunct="1">
        <a:lnSpc>
          <a:spcPct val="100000"/>
        </a:lnSpc>
        <a:spcBef>
          <a:spcPts val="0"/>
        </a:spcBef>
        <a:spcAft>
          <a:spcPts val="867"/>
        </a:spcAft>
        <a:buFont typeface="Arial" panose="020B0604020202020204" pitchFamily="34" charset="0"/>
        <a:buChar char="•"/>
        <a:defRPr sz="2022" kern="1200">
          <a:solidFill>
            <a:schemeClr val="tx1"/>
          </a:solidFill>
          <a:latin typeface="+mn-lt"/>
          <a:ea typeface="+mn-ea"/>
          <a:cs typeface="+mn-cs"/>
        </a:defRPr>
      </a:lvl3pPr>
      <a:lvl4pPr marL="528260" indent="-264129" algn="l" defTabSz="990487" rtl="0" eaLnBrk="1" latinLnBrk="0" hangingPunct="1">
        <a:lnSpc>
          <a:spcPct val="100000"/>
        </a:lnSpc>
        <a:spcBef>
          <a:spcPts val="0"/>
        </a:spcBef>
        <a:spcAft>
          <a:spcPts val="867"/>
        </a:spcAft>
        <a:buFont typeface="Arial" panose="020B0604020202020204" pitchFamily="34" charset="0"/>
        <a:buChar char="–"/>
        <a:defRPr sz="2022" kern="1200">
          <a:solidFill>
            <a:schemeClr val="tx1"/>
          </a:solidFill>
          <a:latin typeface="+mn-lt"/>
          <a:ea typeface="+mn-ea"/>
          <a:cs typeface="+mn-cs"/>
        </a:defRPr>
      </a:lvl4pPr>
      <a:lvl5pPr marL="792389" indent="-264129" algn="l" defTabSz="990487" rtl="0" eaLnBrk="1" latinLnBrk="0" hangingPunct="1">
        <a:lnSpc>
          <a:spcPct val="100000"/>
        </a:lnSpc>
        <a:spcBef>
          <a:spcPts val="0"/>
        </a:spcBef>
        <a:spcAft>
          <a:spcPts val="867"/>
        </a:spcAft>
        <a:buFont typeface="Arial" panose="020B0604020202020204" pitchFamily="34" charset="0"/>
        <a:buChar char="•"/>
        <a:defRPr sz="2022" kern="1200">
          <a:solidFill>
            <a:schemeClr val="tx1"/>
          </a:solidFill>
          <a:latin typeface="+mn-lt"/>
          <a:ea typeface="+mn-ea"/>
          <a:cs typeface="+mn-cs"/>
        </a:defRPr>
      </a:lvl5pPr>
      <a:lvl6pPr marL="1056519" indent="-264129" algn="l" defTabSz="990487" rtl="0" eaLnBrk="1" latinLnBrk="0" hangingPunct="1">
        <a:lnSpc>
          <a:spcPct val="100000"/>
        </a:lnSpc>
        <a:spcBef>
          <a:spcPts val="0"/>
        </a:spcBef>
        <a:spcAft>
          <a:spcPts val="867"/>
        </a:spcAft>
        <a:buFont typeface="Arial" panose="020B0604020202020204" pitchFamily="34" charset="0"/>
        <a:buChar char="–"/>
        <a:defRPr sz="2022" kern="1200">
          <a:solidFill>
            <a:schemeClr val="tx1"/>
          </a:solidFill>
          <a:latin typeface="+mn-lt"/>
          <a:ea typeface="+mn-ea"/>
          <a:cs typeface="+mn-cs"/>
        </a:defRPr>
      </a:lvl6pPr>
      <a:lvl7pPr marL="1320648" indent="-264129" algn="l" defTabSz="990487" rtl="0" eaLnBrk="1" latinLnBrk="0" hangingPunct="1">
        <a:lnSpc>
          <a:spcPct val="100000"/>
        </a:lnSpc>
        <a:spcBef>
          <a:spcPts val="0"/>
        </a:spcBef>
        <a:spcAft>
          <a:spcPts val="867"/>
        </a:spcAft>
        <a:buFont typeface="Arial" panose="020B0604020202020204" pitchFamily="34" charset="0"/>
        <a:buChar char="•"/>
        <a:defRPr sz="2022" kern="1200">
          <a:solidFill>
            <a:schemeClr val="tx1"/>
          </a:solidFill>
          <a:latin typeface="+mn-lt"/>
          <a:ea typeface="+mn-ea"/>
          <a:cs typeface="+mn-cs"/>
        </a:defRPr>
      </a:lvl7pPr>
      <a:lvl8pPr marL="1584778" indent="-264129" algn="l" defTabSz="990487" rtl="0" eaLnBrk="1" latinLnBrk="0" hangingPunct="1">
        <a:lnSpc>
          <a:spcPct val="100000"/>
        </a:lnSpc>
        <a:spcBef>
          <a:spcPts val="0"/>
        </a:spcBef>
        <a:spcAft>
          <a:spcPts val="867"/>
        </a:spcAft>
        <a:buFont typeface="Arial" panose="020B0604020202020204" pitchFamily="34" charset="0"/>
        <a:buChar char="–"/>
        <a:defRPr sz="2022" kern="1200">
          <a:solidFill>
            <a:schemeClr val="tx1"/>
          </a:solidFill>
          <a:latin typeface="+mn-lt"/>
          <a:ea typeface="+mn-ea"/>
          <a:cs typeface="+mn-cs"/>
        </a:defRPr>
      </a:lvl8pPr>
      <a:lvl9pPr marL="1848907" indent="-264129" algn="l" defTabSz="990487" rtl="0" eaLnBrk="1" latinLnBrk="0" hangingPunct="1">
        <a:lnSpc>
          <a:spcPct val="100000"/>
        </a:lnSpc>
        <a:spcBef>
          <a:spcPts val="0"/>
        </a:spcBef>
        <a:spcAft>
          <a:spcPts val="867"/>
        </a:spcAft>
        <a:buFont typeface="Arial" panose="020B0604020202020204" pitchFamily="34" charset="0"/>
        <a:buChar char="•"/>
        <a:defRPr sz="202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487" rtl="0" eaLnBrk="1" latinLnBrk="0" hangingPunct="1">
        <a:defRPr sz="2022" kern="1200">
          <a:solidFill>
            <a:schemeClr val="tx1"/>
          </a:solidFill>
          <a:latin typeface="+mn-lt"/>
          <a:ea typeface="+mn-ea"/>
          <a:cs typeface="+mn-cs"/>
        </a:defRPr>
      </a:lvl1pPr>
      <a:lvl2pPr marL="495244" algn="l" defTabSz="990487" rtl="0" eaLnBrk="1" latinLnBrk="0" hangingPunct="1">
        <a:defRPr sz="2022" kern="1200">
          <a:solidFill>
            <a:schemeClr val="tx1"/>
          </a:solidFill>
          <a:latin typeface="+mn-lt"/>
          <a:ea typeface="+mn-ea"/>
          <a:cs typeface="+mn-cs"/>
        </a:defRPr>
      </a:lvl2pPr>
      <a:lvl3pPr marL="990487" algn="l" defTabSz="990487" rtl="0" eaLnBrk="1" latinLnBrk="0" hangingPunct="1">
        <a:defRPr sz="2022" kern="1200">
          <a:solidFill>
            <a:schemeClr val="tx1"/>
          </a:solidFill>
          <a:latin typeface="+mn-lt"/>
          <a:ea typeface="+mn-ea"/>
          <a:cs typeface="+mn-cs"/>
        </a:defRPr>
      </a:lvl3pPr>
      <a:lvl4pPr marL="1485730" algn="l" defTabSz="990487" rtl="0" eaLnBrk="1" latinLnBrk="0" hangingPunct="1">
        <a:defRPr sz="2022" kern="1200">
          <a:solidFill>
            <a:schemeClr val="tx1"/>
          </a:solidFill>
          <a:latin typeface="+mn-lt"/>
          <a:ea typeface="+mn-ea"/>
          <a:cs typeface="+mn-cs"/>
        </a:defRPr>
      </a:lvl4pPr>
      <a:lvl5pPr marL="1980974" algn="l" defTabSz="990487" rtl="0" eaLnBrk="1" latinLnBrk="0" hangingPunct="1">
        <a:defRPr sz="2022" kern="1200">
          <a:solidFill>
            <a:schemeClr val="tx1"/>
          </a:solidFill>
          <a:latin typeface="+mn-lt"/>
          <a:ea typeface="+mn-ea"/>
          <a:cs typeface="+mn-cs"/>
        </a:defRPr>
      </a:lvl5pPr>
      <a:lvl6pPr marL="2476216" algn="l" defTabSz="990487" rtl="0" eaLnBrk="1" latinLnBrk="0" hangingPunct="1">
        <a:defRPr sz="2022" kern="1200">
          <a:solidFill>
            <a:schemeClr val="tx1"/>
          </a:solidFill>
          <a:latin typeface="+mn-lt"/>
          <a:ea typeface="+mn-ea"/>
          <a:cs typeface="+mn-cs"/>
        </a:defRPr>
      </a:lvl6pPr>
      <a:lvl7pPr marL="2971460" algn="l" defTabSz="990487" rtl="0" eaLnBrk="1" latinLnBrk="0" hangingPunct="1">
        <a:defRPr sz="2022" kern="1200">
          <a:solidFill>
            <a:schemeClr val="tx1"/>
          </a:solidFill>
          <a:latin typeface="+mn-lt"/>
          <a:ea typeface="+mn-ea"/>
          <a:cs typeface="+mn-cs"/>
        </a:defRPr>
      </a:lvl7pPr>
      <a:lvl8pPr marL="3466702" algn="l" defTabSz="990487" rtl="0" eaLnBrk="1" latinLnBrk="0" hangingPunct="1">
        <a:defRPr sz="2022" kern="1200">
          <a:solidFill>
            <a:schemeClr val="tx1"/>
          </a:solidFill>
          <a:latin typeface="+mn-lt"/>
          <a:ea typeface="+mn-ea"/>
          <a:cs typeface="+mn-cs"/>
        </a:defRPr>
      </a:lvl8pPr>
      <a:lvl9pPr marL="3961946" algn="l" defTabSz="990487" rtl="0" eaLnBrk="1" latinLnBrk="0" hangingPunct="1">
        <a:defRPr sz="202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5" userDrawn="1">
          <p15:clr>
            <a:srgbClr val="A4A3A4"/>
          </p15:clr>
        </p15:guide>
        <p15:guide id="2" pos="204" userDrawn="1">
          <p15:clr>
            <a:srgbClr val="A4A3A4"/>
          </p15:clr>
        </p15:guide>
        <p15:guide id="3" orient="horz" pos="368" userDrawn="1">
          <p15:clr>
            <a:srgbClr val="A4A3A4"/>
          </p15:clr>
        </p15:guide>
        <p15:guide id="4" orient="horz" pos="1613" userDrawn="1">
          <p15:clr>
            <a:srgbClr val="A4A3A4"/>
          </p15:clr>
        </p15:guide>
        <p15:guide id="5" orient="horz" pos="3120" userDrawn="1">
          <p15:clr>
            <a:srgbClr val="A4A3A4"/>
          </p15:clr>
        </p15:guide>
        <p15:guide id="6" orient="horz" pos="5610" userDrawn="1">
          <p15:clr>
            <a:srgbClr val="A4A3A4"/>
          </p15:clr>
        </p15:guide>
        <p15:guide id="7" pos="3783" userDrawn="1">
          <p15:clr>
            <a:srgbClr val="A4A3A4"/>
          </p15:clr>
        </p15:guide>
        <p15:guide id="8" pos="1303" userDrawn="1">
          <p15:clr>
            <a:srgbClr val="A4A3A4"/>
          </p15:clr>
        </p15:guide>
        <p15:guide id="9" pos="1429" userDrawn="1">
          <p15:clr>
            <a:srgbClr val="A4A3A4"/>
          </p15:clr>
        </p15:guide>
        <p15:guide id="10" pos="2685" userDrawn="1">
          <p15:clr>
            <a:srgbClr val="A4A3A4"/>
          </p15:clr>
        </p15:guide>
        <p15:guide id="11" pos="2559" userDrawn="1">
          <p15:clr>
            <a:srgbClr val="A4A3A4"/>
          </p15:clr>
        </p15:guide>
        <p15:guide id="12" pos="1931" userDrawn="1">
          <p15:clr>
            <a:srgbClr val="A4A3A4"/>
          </p15:clr>
        </p15:guide>
        <p15:guide id="13" pos="1994" userDrawn="1">
          <p15:clr>
            <a:srgbClr val="A4A3A4"/>
          </p15:clr>
        </p15:guide>
        <p15:guide id="14" pos="2057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5787EE09-3D89-263E-08F5-13547C5209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490" y="527408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BBAED035-9903-74BC-40A8-C3ED6799E5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1490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79686E18-FAF3-EBDD-CD59-E12562EC464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1488" y="9181399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44AB3D-1057-4AB6-87D1-2B0FE264E624}" type="datetimeFigureOut">
              <a:rPr kumimoji="1" lang="ja-JP" altLang="en-US" smtClean="0"/>
              <a:t>2025/12/12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93B70AA6-1029-6E2A-B8DD-69108B0BAD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71715" y="9181399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A912B663-594D-AD94-FA51-FA6C03E215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43463" y="9181399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92513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txStyles>
    <p:titleStyle>
      <a:lvl1pPr algn="l" defTabSz="1320648" rtl="0" eaLnBrk="1" latinLnBrk="0" hangingPunct="1">
        <a:lnSpc>
          <a:spcPct val="90000"/>
        </a:lnSpc>
        <a:spcBef>
          <a:spcPct val="0"/>
        </a:spcBef>
        <a:buNone/>
        <a:defRPr kumimoji="1" sz="635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0164" indent="-330164" algn="l" defTabSz="1320648" rtl="0" eaLnBrk="1" latinLnBrk="0" hangingPunct="1">
        <a:lnSpc>
          <a:spcPct val="90000"/>
        </a:lnSpc>
        <a:spcBef>
          <a:spcPts val="1444"/>
        </a:spcBef>
        <a:buFont typeface="Arial" panose="020B0604020202020204" pitchFamily="34" charset="0"/>
        <a:buChar char="•"/>
        <a:defRPr kumimoji="1" sz="4044" kern="1200">
          <a:solidFill>
            <a:schemeClr val="tx1"/>
          </a:solidFill>
          <a:latin typeface="+mn-lt"/>
          <a:ea typeface="+mn-ea"/>
          <a:cs typeface="+mn-cs"/>
        </a:defRPr>
      </a:lvl1pPr>
      <a:lvl2pPr marL="990487" indent="-330164" algn="l" defTabSz="1320648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kumimoji="1" sz="3467" kern="1200">
          <a:solidFill>
            <a:schemeClr val="tx1"/>
          </a:solidFill>
          <a:latin typeface="+mn-lt"/>
          <a:ea typeface="+mn-ea"/>
          <a:cs typeface="+mn-cs"/>
        </a:defRPr>
      </a:lvl2pPr>
      <a:lvl3pPr marL="1650811" indent="-330164" algn="l" defTabSz="1320648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kumimoji="1" sz="2889" kern="1200">
          <a:solidFill>
            <a:schemeClr val="tx1"/>
          </a:solidFill>
          <a:latin typeface="+mn-lt"/>
          <a:ea typeface="+mn-ea"/>
          <a:cs typeface="+mn-cs"/>
        </a:defRPr>
      </a:lvl3pPr>
      <a:lvl4pPr marL="2311135" indent="-330164" algn="l" defTabSz="1320648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kumimoji="1"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971460" indent="-330164" algn="l" defTabSz="1320648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kumimoji="1"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631785" indent="-330164" algn="l" defTabSz="1320648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kumimoji="1"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4292110" indent="-330164" algn="l" defTabSz="1320648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kumimoji="1"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952433" indent="-330164" algn="l" defTabSz="1320648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kumimoji="1"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612756" indent="-330164" algn="l" defTabSz="1320648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kumimoji="1"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1320648" rtl="0" eaLnBrk="1" latinLnBrk="0" hangingPunct="1">
        <a:defRPr kumimoji="1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60325" algn="l" defTabSz="1320648" rtl="0" eaLnBrk="1" latinLnBrk="0" hangingPunct="1">
        <a:defRPr kumimoji="1"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20648" algn="l" defTabSz="1320648" rtl="0" eaLnBrk="1" latinLnBrk="0" hangingPunct="1">
        <a:defRPr kumimoji="1"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80974" algn="l" defTabSz="1320648" rtl="0" eaLnBrk="1" latinLnBrk="0" hangingPunct="1">
        <a:defRPr kumimoji="1"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41298" algn="l" defTabSz="1320648" rtl="0" eaLnBrk="1" latinLnBrk="0" hangingPunct="1">
        <a:defRPr kumimoji="1"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301621" algn="l" defTabSz="1320648" rtl="0" eaLnBrk="1" latinLnBrk="0" hangingPunct="1">
        <a:defRPr kumimoji="1"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946" algn="l" defTabSz="1320648" rtl="0" eaLnBrk="1" latinLnBrk="0" hangingPunct="1">
        <a:defRPr kumimoji="1"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622271" algn="l" defTabSz="1320648" rtl="0" eaLnBrk="1" latinLnBrk="0" hangingPunct="1">
        <a:defRPr kumimoji="1"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82595" algn="l" defTabSz="1320648" rtl="0" eaLnBrk="1" latinLnBrk="0" hangingPunct="1">
        <a:defRPr kumimoji="1"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19" Type="http://schemas.openxmlformats.org/officeDocument/2006/relationships/image" Target="../media/image19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image" Target="../media/image3.png"/><Relationship Id="rId21" Type="http://schemas.openxmlformats.org/officeDocument/2006/relationships/image" Target="../media/image21.jpe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6.png"/><Relationship Id="rId20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19" Type="http://schemas.openxmlformats.org/officeDocument/2006/relationships/image" Target="../media/image19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>
            <a:extLst>
              <a:ext uri="{FF2B5EF4-FFF2-40B4-BE49-F238E27FC236}">
                <a16:creationId xmlns:a16="http://schemas.microsoft.com/office/drawing/2014/main" id="{0FE5C36E-88FB-5F46-E95A-88E9DCDFE9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65737" y="1438841"/>
            <a:ext cx="624000" cy="624000"/>
          </a:xfrm>
          <a:prstGeom prst="rect">
            <a:avLst/>
          </a:prstGeom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A003FC36-CF09-C094-3730-47002971D3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01064" y="1434507"/>
            <a:ext cx="624000" cy="624000"/>
          </a:xfrm>
          <a:prstGeom prst="rect">
            <a:avLst/>
          </a:prstGeom>
        </p:spPr>
      </p:pic>
      <p:pic>
        <p:nvPicPr>
          <p:cNvPr id="12" name="図 11">
            <a:extLst>
              <a:ext uri="{FF2B5EF4-FFF2-40B4-BE49-F238E27FC236}">
                <a16:creationId xmlns:a16="http://schemas.microsoft.com/office/drawing/2014/main" id="{18EEF37A-3E02-5FEB-1898-E4064E27DF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25610" y="1436130"/>
            <a:ext cx="624000" cy="624000"/>
          </a:xfrm>
          <a:prstGeom prst="rect">
            <a:avLst/>
          </a:prstGeom>
        </p:spPr>
      </p:pic>
      <p:pic>
        <p:nvPicPr>
          <p:cNvPr id="13" name="図 12">
            <a:extLst>
              <a:ext uri="{FF2B5EF4-FFF2-40B4-BE49-F238E27FC236}">
                <a16:creationId xmlns:a16="http://schemas.microsoft.com/office/drawing/2014/main" id="{34FD835F-4443-EE70-E6B0-060E7E3B04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46859" y="1440085"/>
            <a:ext cx="624000" cy="624000"/>
          </a:xfrm>
          <a:prstGeom prst="rect">
            <a:avLst/>
          </a:prstGeom>
        </p:spPr>
      </p:pic>
      <p:pic>
        <p:nvPicPr>
          <p:cNvPr id="14" name="図 13">
            <a:extLst>
              <a:ext uri="{FF2B5EF4-FFF2-40B4-BE49-F238E27FC236}">
                <a16:creationId xmlns:a16="http://schemas.microsoft.com/office/drawing/2014/main" id="{5F093C15-1DE5-5B8A-1369-F7B9130B66B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70859" y="1440768"/>
            <a:ext cx="624000" cy="624000"/>
          </a:xfrm>
          <a:prstGeom prst="rect">
            <a:avLst/>
          </a:prstGeom>
        </p:spPr>
      </p:pic>
      <p:pic>
        <p:nvPicPr>
          <p:cNvPr id="15" name="図 14">
            <a:extLst>
              <a:ext uri="{FF2B5EF4-FFF2-40B4-BE49-F238E27FC236}">
                <a16:creationId xmlns:a16="http://schemas.microsoft.com/office/drawing/2014/main" id="{7832F007-E6A1-9DE7-A561-97215BBE67F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85213" y="1441634"/>
            <a:ext cx="624000" cy="624000"/>
          </a:xfrm>
          <a:prstGeom prst="rect">
            <a:avLst/>
          </a:prstGeom>
        </p:spPr>
      </p:pic>
      <p:pic>
        <p:nvPicPr>
          <p:cNvPr id="16" name="図 15">
            <a:extLst>
              <a:ext uri="{FF2B5EF4-FFF2-40B4-BE49-F238E27FC236}">
                <a16:creationId xmlns:a16="http://schemas.microsoft.com/office/drawing/2014/main" id="{F6736CF6-920A-A688-8821-8E75F72DDE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49610" y="2061754"/>
            <a:ext cx="624000" cy="624000"/>
          </a:xfrm>
          <a:prstGeom prst="rect">
            <a:avLst/>
          </a:prstGeom>
        </p:spPr>
      </p:pic>
      <p:pic>
        <p:nvPicPr>
          <p:cNvPr id="17" name="図 16">
            <a:extLst>
              <a:ext uri="{FF2B5EF4-FFF2-40B4-BE49-F238E27FC236}">
                <a16:creationId xmlns:a16="http://schemas.microsoft.com/office/drawing/2014/main" id="{31EA3FA5-5B18-B349-F771-037F913BF1E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185698" y="2082461"/>
            <a:ext cx="624000" cy="624000"/>
          </a:xfrm>
          <a:prstGeom prst="rect">
            <a:avLst/>
          </a:prstGeom>
        </p:spPr>
      </p:pic>
      <p:pic>
        <p:nvPicPr>
          <p:cNvPr id="18" name="図 17">
            <a:extLst>
              <a:ext uri="{FF2B5EF4-FFF2-40B4-BE49-F238E27FC236}">
                <a16:creationId xmlns:a16="http://schemas.microsoft.com/office/drawing/2014/main" id="{624B97CD-B8BC-3107-B641-5E4E76516B6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691690" y="2678104"/>
            <a:ext cx="624000" cy="624000"/>
          </a:xfrm>
          <a:prstGeom prst="rect">
            <a:avLst/>
          </a:prstGeom>
        </p:spPr>
      </p:pic>
      <p:pic>
        <p:nvPicPr>
          <p:cNvPr id="19" name="図 18">
            <a:extLst>
              <a:ext uri="{FF2B5EF4-FFF2-40B4-BE49-F238E27FC236}">
                <a16:creationId xmlns:a16="http://schemas.microsoft.com/office/drawing/2014/main" id="{B212718C-EC55-C71E-68EF-8871F23C706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945619" y="2680918"/>
            <a:ext cx="624000" cy="624000"/>
          </a:xfrm>
          <a:prstGeom prst="rect">
            <a:avLst/>
          </a:prstGeom>
        </p:spPr>
      </p:pic>
      <p:pic>
        <p:nvPicPr>
          <p:cNvPr id="20" name="図 19">
            <a:extLst>
              <a:ext uri="{FF2B5EF4-FFF2-40B4-BE49-F238E27FC236}">
                <a16:creationId xmlns:a16="http://schemas.microsoft.com/office/drawing/2014/main" id="{16FE5D6E-C69F-8A4F-2A43-7AA9DC6E919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558188" y="2681862"/>
            <a:ext cx="624000" cy="624000"/>
          </a:xfrm>
          <a:prstGeom prst="rect">
            <a:avLst/>
          </a:prstGeom>
        </p:spPr>
      </p:pic>
      <p:pic>
        <p:nvPicPr>
          <p:cNvPr id="21" name="図 20">
            <a:extLst>
              <a:ext uri="{FF2B5EF4-FFF2-40B4-BE49-F238E27FC236}">
                <a16:creationId xmlns:a16="http://schemas.microsoft.com/office/drawing/2014/main" id="{685DA77B-F111-10D5-1F2B-A15426A027C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071425" y="2052280"/>
            <a:ext cx="624000" cy="624000"/>
          </a:xfrm>
          <a:prstGeom prst="rect">
            <a:avLst/>
          </a:prstGeom>
        </p:spPr>
      </p:pic>
      <p:pic>
        <p:nvPicPr>
          <p:cNvPr id="22" name="図 21">
            <a:extLst>
              <a:ext uri="{FF2B5EF4-FFF2-40B4-BE49-F238E27FC236}">
                <a16:creationId xmlns:a16="http://schemas.microsoft.com/office/drawing/2014/main" id="{DBFB5C00-8E4F-BFEA-75D0-35DC319BFE2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695138" y="2056614"/>
            <a:ext cx="624000" cy="624000"/>
          </a:xfrm>
          <a:prstGeom prst="rect">
            <a:avLst/>
          </a:prstGeom>
        </p:spPr>
      </p:pic>
      <p:pic>
        <p:nvPicPr>
          <p:cNvPr id="23" name="図 22">
            <a:extLst>
              <a:ext uri="{FF2B5EF4-FFF2-40B4-BE49-F238E27FC236}">
                <a16:creationId xmlns:a16="http://schemas.microsoft.com/office/drawing/2014/main" id="{A205C713-58B3-D844-A226-E112DB2E5292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322586" y="2064768"/>
            <a:ext cx="624000" cy="624000"/>
          </a:xfrm>
          <a:prstGeom prst="rect">
            <a:avLst/>
          </a:prstGeom>
        </p:spPr>
      </p:pic>
      <p:pic>
        <p:nvPicPr>
          <p:cNvPr id="24" name="図 23">
            <a:extLst>
              <a:ext uri="{FF2B5EF4-FFF2-40B4-BE49-F238E27FC236}">
                <a16:creationId xmlns:a16="http://schemas.microsoft.com/office/drawing/2014/main" id="{05300648-82D0-4F9C-6189-34B59E9ABB92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568991" y="2061754"/>
            <a:ext cx="624000" cy="624000"/>
          </a:xfrm>
          <a:prstGeom prst="rect">
            <a:avLst/>
          </a:prstGeom>
        </p:spPr>
      </p:pic>
      <p:pic>
        <p:nvPicPr>
          <p:cNvPr id="25" name="図 24">
            <a:extLst>
              <a:ext uri="{FF2B5EF4-FFF2-40B4-BE49-F238E27FC236}">
                <a16:creationId xmlns:a16="http://schemas.microsoft.com/office/drawing/2014/main" id="{3F6265ED-65F2-1938-423F-C705241689DD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077064" y="2676280"/>
            <a:ext cx="624000" cy="624000"/>
          </a:xfrm>
          <a:prstGeom prst="rect">
            <a:avLst/>
          </a:prstGeom>
        </p:spPr>
      </p:pic>
      <p:pic>
        <p:nvPicPr>
          <p:cNvPr id="26" name="図 25">
            <a:extLst>
              <a:ext uri="{FF2B5EF4-FFF2-40B4-BE49-F238E27FC236}">
                <a16:creationId xmlns:a16="http://schemas.microsoft.com/office/drawing/2014/main" id="{A68377BE-3DBD-FDDE-F632-72A5ACCE89F7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320650" y="2676280"/>
            <a:ext cx="624000" cy="624000"/>
          </a:xfrm>
          <a:prstGeom prst="rect">
            <a:avLst/>
          </a:prstGeom>
        </p:spPr>
      </p:pic>
      <p:sp>
        <p:nvSpPr>
          <p:cNvPr id="27" name="テキスト プレースホルダー 4">
            <a:extLst>
              <a:ext uri="{FF2B5EF4-FFF2-40B4-BE49-F238E27FC236}">
                <a16:creationId xmlns:a16="http://schemas.microsoft.com/office/drawing/2014/main" id="{6740BA51-ED12-9398-0D70-8BBF43161487}"/>
              </a:ext>
            </a:extLst>
          </p:cNvPr>
          <p:cNvSpPr txBox="1">
            <a:spLocks/>
          </p:cNvSpPr>
          <p:nvPr/>
        </p:nvSpPr>
        <p:spPr>
          <a:xfrm>
            <a:off x="175797" y="96620"/>
            <a:ext cx="12330860" cy="352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2400" dirty="0"/>
              <a:t>富士山</a:t>
            </a:r>
            <a:r>
              <a:rPr lang="ja-JP" altLang="en-US" sz="2400" dirty="0" smtClean="0"/>
              <a:t>ＳＤＧｓアワード</a:t>
            </a:r>
            <a:r>
              <a:rPr lang="ja-JP" altLang="en-US" sz="2400" dirty="0"/>
              <a:t>取組</a:t>
            </a:r>
            <a:r>
              <a:rPr lang="ja-JP" altLang="en-US" sz="2400" dirty="0" smtClean="0"/>
              <a:t>概要書　　</a:t>
            </a:r>
            <a:r>
              <a:rPr lang="ja-JP" altLang="en-US" sz="2400" dirty="0"/>
              <a:t>　　</a:t>
            </a:r>
            <a:r>
              <a:rPr lang="ja-JP" altLang="en-US" sz="1600" dirty="0" smtClean="0"/>
              <a:t>＜</a:t>
            </a:r>
            <a:r>
              <a:rPr lang="ja-JP" altLang="en-US" sz="1600" dirty="0"/>
              <a:t>様式２＞</a:t>
            </a:r>
          </a:p>
        </p:txBody>
      </p:sp>
      <p:graphicFrame>
        <p:nvGraphicFramePr>
          <p:cNvPr id="3" name="表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5027954"/>
              </p:ext>
            </p:extLst>
          </p:nvPr>
        </p:nvGraphicFramePr>
        <p:xfrm>
          <a:off x="287019" y="751104"/>
          <a:ext cx="6312564" cy="38200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5520">
                  <a:extLst>
                    <a:ext uri="{9D8B030D-6E8A-4147-A177-3AD203B41FA5}">
                      <a16:colId xmlns:a16="http://schemas.microsoft.com/office/drawing/2014/main" val="4233033849"/>
                    </a:ext>
                  </a:extLst>
                </a:gridCol>
                <a:gridCol w="4837044">
                  <a:extLst>
                    <a:ext uri="{9D8B030D-6E8A-4147-A177-3AD203B41FA5}">
                      <a16:colId xmlns:a16="http://schemas.microsoft.com/office/drawing/2014/main" val="2843290420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.</a:t>
                      </a:r>
                      <a:r>
                        <a:rPr kumimoji="1" lang="ja-JP" altLang="en-US" sz="14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組名</a:t>
                      </a:r>
                      <a:endParaRPr kumimoji="1" lang="ja-JP" altLang="en-US" sz="14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ja-JP" altLang="en-US" sz="14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132080" marR="132080" marT="66040" marB="660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4539415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.</a:t>
                      </a:r>
                      <a:r>
                        <a:rPr kumimoji="1" lang="ja-JP" altLang="en-US" sz="14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門</a:t>
                      </a:r>
                    </a:p>
                    <a:p>
                      <a:pPr algn="ctr"/>
                      <a:r>
                        <a:rPr kumimoji="1" lang="en-US" altLang="ja-JP" sz="12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※</a:t>
                      </a:r>
                      <a:r>
                        <a:rPr kumimoji="1" lang="ja-JP" altLang="en-US" sz="12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該当する分野に〇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4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共創部門　・　実践部門　</a:t>
                      </a:r>
                      <a:endParaRPr lang="ja-JP" altLang="en-US" sz="14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132080" marR="132080" marT="66040" marB="660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11196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.</a:t>
                      </a:r>
                      <a:r>
                        <a:rPr kumimoji="1" lang="ja-JP" altLang="en-US" sz="14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組期間</a:t>
                      </a:r>
                      <a:endParaRPr lang="ja-JP" altLang="en-US" sz="14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132080" marR="132080" marT="66040" marB="660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令和</a:t>
                      </a:r>
                      <a:r>
                        <a:rPr kumimoji="1" lang="ja-JP" altLang="en-US" sz="1400" b="1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年</a:t>
                      </a:r>
                      <a:r>
                        <a:rPr kumimoji="1" lang="ja-JP" altLang="en-US" sz="14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月～令和〇年〇月</a:t>
                      </a:r>
                      <a:endParaRPr lang="ja-JP" altLang="en-US" sz="14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132080" marR="132080" marT="66040" marB="660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9888625"/>
                  </a:ext>
                </a:extLst>
              </a:tr>
              <a:tr h="432000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4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4.</a:t>
                      </a:r>
                      <a:r>
                        <a:rPr lang="ja-JP" altLang="en-US" sz="14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連携団体</a:t>
                      </a:r>
                      <a:endParaRPr lang="ja-JP" altLang="en-US" sz="14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132080" marR="132080" marT="66040" marB="660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</a:t>
                      </a:r>
                      <a:endParaRPr lang="ja-JP" altLang="en-US" sz="14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132080" marR="132080" marT="66040" marB="660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4045285"/>
                  </a:ext>
                </a:extLst>
              </a:tr>
              <a:tr h="432000">
                <a:tc vMerge="1">
                  <a:txBody>
                    <a:bodyPr/>
                    <a:lstStyle/>
                    <a:p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</a:t>
                      </a:r>
                      <a:endParaRPr lang="ja-JP" altLang="en-US" sz="14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132080" marR="132080" marT="66040" marB="660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270020"/>
                  </a:ext>
                </a:extLst>
              </a:tr>
              <a:tr h="432000">
                <a:tc vMerge="1">
                  <a:txBody>
                    <a:bodyPr/>
                    <a:lstStyle/>
                    <a:p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</a:t>
                      </a:r>
                      <a:endParaRPr lang="ja-JP" altLang="en-US" sz="14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132080" marR="132080" marT="66040" marB="660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6202640"/>
                  </a:ext>
                </a:extLst>
              </a:tr>
              <a:tr h="72406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.</a:t>
                      </a:r>
                      <a:r>
                        <a:rPr kumimoji="1" lang="ja-JP" altLang="en-US" sz="14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該当する</a:t>
                      </a:r>
                      <a:endParaRPr kumimoji="1" lang="en-US" altLang="ja-JP" sz="14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ＳＤＧｓ目標</a:t>
                      </a:r>
                      <a:endParaRPr kumimoji="1" lang="en-US" altLang="ja-JP" sz="14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※5</a:t>
                      </a:r>
                      <a:r>
                        <a:rPr kumimoji="1" lang="ja-JP" altLang="en-US" sz="10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つまで</a:t>
                      </a:r>
                      <a:endParaRPr lang="ja-JP" altLang="en-US" sz="10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132080" marR="132080" marT="66040" marB="660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ja-JP" altLang="en-US" sz="1400" b="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132080" marR="132080" marT="66040" marB="660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835032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1" kern="1200" dirty="0" smtClean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６</a:t>
                      </a:r>
                      <a:r>
                        <a:rPr lang="en-US" altLang="ja-JP" sz="1400" b="1" kern="1200" dirty="0" smtClean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.</a:t>
                      </a:r>
                      <a:r>
                        <a:rPr lang="ja-JP" altLang="en-US" sz="1400" b="1" kern="1200" dirty="0" smtClean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関連</a:t>
                      </a:r>
                      <a:r>
                        <a:rPr lang="en-US" altLang="ja-JP" sz="1400" b="1" kern="1200" dirty="0" smtClean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URL</a:t>
                      </a:r>
                      <a:endParaRPr lang="ja-JP" altLang="en-US" sz="1400" b="1" kern="1200" dirty="0">
                        <a:solidFill>
                          <a:schemeClr val="dk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L="132080" marR="132080" marT="66040" marB="660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ja-JP" altLang="en-US" sz="1400" b="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132080" marR="132080" marT="66040" marB="660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2663509"/>
                  </a:ext>
                </a:extLst>
              </a:tr>
            </a:tbl>
          </a:graphicData>
        </a:graphic>
      </p:graphicFrame>
      <p:graphicFrame>
        <p:nvGraphicFramePr>
          <p:cNvPr id="4" name="表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3672841"/>
              </p:ext>
            </p:extLst>
          </p:nvPr>
        </p:nvGraphicFramePr>
        <p:xfrm>
          <a:off x="287019" y="4679133"/>
          <a:ext cx="6312564" cy="51111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56282">
                  <a:extLst>
                    <a:ext uri="{9D8B030D-6E8A-4147-A177-3AD203B41FA5}">
                      <a16:colId xmlns:a16="http://schemas.microsoft.com/office/drawing/2014/main" val="3656723103"/>
                    </a:ext>
                  </a:extLst>
                </a:gridCol>
                <a:gridCol w="3156282">
                  <a:extLst>
                    <a:ext uri="{9D8B030D-6E8A-4147-A177-3AD203B41FA5}">
                      <a16:colId xmlns:a16="http://schemas.microsoft.com/office/drawing/2014/main" val="2609256834"/>
                    </a:ext>
                  </a:extLst>
                </a:gridCol>
              </a:tblGrid>
              <a:tr h="272957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1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7.</a:t>
                      </a:r>
                      <a:r>
                        <a:rPr kumimoji="1" lang="ja-JP" altLang="en-US" sz="11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組が開始されたきっかけ・経緯</a:t>
                      </a:r>
                      <a:endParaRPr kumimoji="1" lang="ja-JP" altLang="en-US" sz="11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1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8.</a:t>
                      </a:r>
                      <a:r>
                        <a:rPr kumimoji="1" lang="ja-JP" altLang="en-US" sz="11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申請者・連携団体の役割</a:t>
                      </a:r>
                      <a:endParaRPr kumimoji="1" lang="ja-JP" altLang="en-US" sz="11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7520900"/>
                  </a:ext>
                </a:extLst>
              </a:tr>
              <a:tr h="1440000">
                <a:tc>
                  <a:txBody>
                    <a:bodyPr/>
                    <a:lstStyle/>
                    <a:p>
                      <a:pPr algn="ctr"/>
                      <a:endParaRPr kumimoji="1" lang="ja-JP" altLang="en-US" sz="11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1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56431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1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9.</a:t>
                      </a:r>
                      <a:r>
                        <a:rPr kumimoji="1" lang="ja-JP" altLang="en-US" sz="11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組内容</a:t>
                      </a:r>
                      <a:endParaRPr kumimoji="1" lang="en-US" altLang="ja-JP" sz="1100" b="1" dirty="0" smtClean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1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0.</a:t>
                      </a:r>
                      <a:r>
                        <a:rPr kumimoji="1" lang="ja-JP" altLang="en-US" sz="11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社会的インパクト</a:t>
                      </a:r>
                      <a:r>
                        <a:rPr kumimoji="1" lang="en-US" altLang="ja-JP" sz="11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kumimoji="1" lang="ja-JP" altLang="en-US" sz="1100" b="1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効果・社会等への影響など）</a:t>
                      </a:r>
                      <a:endParaRPr kumimoji="1" lang="ja-JP" altLang="en-US" sz="11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9800991"/>
                  </a:ext>
                </a:extLst>
              </a:tr>
              <a:tr h="1440000">
                <a:tc>
                  <a:txBody>
                    <a:bodyPr/>
                    <a:lstStyle/>
                    <a:p>
                      <a:pPr algn="ctr"/>
                      <a:endParaRPr kumimoji="1" lang="ja-JP" altLang="en-US" sz="11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1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1201340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11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1.</a:t>
                      </a:r>
                      <a:r>
                        <a:rPr kumimoji="1" lang="ja-JP" altLang="en-US" sz="11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活動の写真など</a:t>
                      </a:r>
                      <a:endParaRPr kumimoji="1" lang="ja-JP" altLang="en-US" sz="11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1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6004602"/>
                  </a:ext>
                </a:extLst>
              </a:tr>
              <a:tr h="1440000">
                <a:tc gridSpan="2">
                  <a:txBody>
                    <a:bodyPr/>
                    <a:lstStyle/>
                    <a:p>
                      <a:pPr algn="ctr"/>
                      <a:endParaRPr kumimoji="1" lang="ja-JP" altLang="en-US" sz="11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1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3653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4048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表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4791720"/>
              </p:ext>
            </p:extLst>
          </p:nvPr>
        </p:nvGraphicFramePr>
        <p:xfrm>
          <a:off x="101600" y="596405"/>
          <a:ext cx="6644640" cy="36040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4640">
                  <a:extLst>
                    <a:ext uri="{9D8B030D-6E8A-4147-A177-3AD203B41FA5}">
                      <a16:colId xmlns:a16="http://schemas.microsoft.com/office/drawing/2014/main" val="4233033849"/>
                    </a:ext>
                  </a:extLst>
                </a:gridCol>
                <a:gridCol w="5080000">
                  <a:extLst>
                    <a:ext uri="{9D8B030D-6E8A-4147-A177-3AD203B41FA5}">
                      <a16:colId xmlns:a16="http://schemas.microsoft.com/office/drawing/2014/main" val="2843290420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.</a:t>
                      </a:r>
                      <a:r>
                        <a:rPr kumimoji="1" lang="ja-JP" altLang="en-US" sz="14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組名</a:t>
                      </a:r>
                      <a:endParaRPr kumimoji="1" lang="ja-JP" altLang="en-US" sz="14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ja-JP" altLang="en-US" sz="14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眠れる労働力を発掘する取組</a:t>
                      </a:r>
                      <a:endParaRPr lang="ja-JP" altLang="en-US" sz="14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132080" marR="132080" marT="66040" marB="660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4539415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.</a:t>
                      </a:r>
                      <a:r>
                        <a:rPr kumimoji="1" lang="ja-JP" altLang="en-US" sz="14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門</a:t>
                      </a:r>
                    </a:p>
                    <a:p>
                      <a:pPr algn="ctr"/>
                      <a:r>
                        <a:rPr kumimoji="1" lang="en-US" altLang="ja-JP" sz="12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※</a:t>
                      </a:r>
                      <a:r>
                        <a:rPr kumimoji="1" lang="ja-JP" altLang="en-US" sz="12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該当する分野に〇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4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共創部門　・　実践部門　</a:t>
                      </a:r>
                      <a:endParaRPr lang="ja-JP" altLang="en-US" sz="14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132080" marR="132080" marT="66040" marB="660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11196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.</a:t>
                      </a:r>
                      <a:r>
                        <a:rPr kumimoji="1" lang="ja-JP" altLang="en-US" sz="14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組期間</a:t>
                      </a:r>
                      <a:endParaRPr lang="ja-JP" altLang="en-US" sz="14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132080" marR="132080" marT="66040" marB="660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R7</a:t>
                      </a:r>
                      <a:r>
                        <a:rPr kumimoji="1" lang="ja-JP" altLang="en-US" sz="14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年</a:t>
                      </a:r>
                      <a:r>
                        <a:rPr kumimoji="1" lang="en-US" altLang="ja-JP" sz="14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0</a:t>
                      </a:r>
                      <a:r>
                        <a:rPr kumimoji="1" lang="ja-JP" altLang="en-US" sz="14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月～</a:t>
                      </a:r>
                      <a:endParaRPr lang="ja-JP" altLang="en-US" sz="14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132080" marR="132080" marT="66040" marB="660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9888625"/>
                  </a:ext>
                </a:extLst>
              </a:tr>
              <a:tr h="360000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4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4.</a:t>
                      </a:r>
                      <a:r>
                        <a:rPr lang="ja-JP" altLang="en-US" sz="14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連携団体</a:t>
                      </a:r>
                      <a:endParaRPr lang="ja-JP" altLang="en-US" sz="14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132080" marR="132080" marT="66040" marB="660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富士宮信用金庫</a:t>
                      </a:r>
                      <a:endParaRPr lang="ja-JP" altLang="en-US" sz="14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132080" marR="132080" marT="66040" marB="660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4045285"/>
                  </a:ext>
                </a:extLst>
              </a:tr>
              <a:tr h="360000">
                <a:tc vMerge="1">
                  <a:txBody>
                    <a:bodyPr/>
                    <a:lstStyle/>
                    <a:p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富士宮商工会議所</a:t>
                      </a:r>
                      <a:endParaRPr lang="ja-JP" altLang="en-US" sz="14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132080" marR="132080" marT="66040" marB="660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270020"/>
                  </a:ext>
                </a:extLst>
              </a:tr>
              <a:tr h="360000">
                <a:tc vMerge="1">
                  <a:txBody>
                    <a:bodyPr/>
                    <a:lstStyle/>
                    <a:p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芝川商工会</a:t>
                      </a:r>
                      <a:endParaRPr lang="ja-JP" altLang="en-US" sz="14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132080" marR="132080" marT="66040" marB="660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6202640"/>
                  </a:ext>
                </a:extLst>
              </a:tr>
              <a:tr h="72406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.</a:t>
                      </a:r>
                      <a:r>
                        <a:rPr kumimoji="1" lang="ja-JP" altLang="en-US" sz="14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該当する</a:t>
                      </a:r>
                      <a:endParaRPr kumimoji="1" lang="en-US" altLang="ja-JP" sz="14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ＳＤＧｓ目標</a:t>
                      </a:r>
                      <a:endParaRPr kumimoji="1" lang="en-US" altLang="ja-JP" sz="14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※5</a:t>
                      </a:r>
                      <a:r>
                        <a:rPr kumimoji="1" lang="ja-JP" altLang="en-US" sz="10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つまで</a:t>
                      </a:r>
                      <a:endParaRPr lang="ja-JP" altLang="en-US" sz="10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132080" marR="132080" marT="66040" marB="660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ja-JP" altLang="en-US" sz="1400" b="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132080" marR="132080" marT="66040" marB="660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835032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1" kern="1200" dirty="0" smtClean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６</a:t>
                      </a:r>
                      <a:r>
                        <a:rPr lang="en-US" altLang="ja-JP" sz="1400" b="1" kern="1200" dirty="0" smtClean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.</a:t>
                      </a:r>
                      <a:r>
                        <a:rPr lang="ja-JP" altLang="en-US" sz="1400" b="1" kern="1200" dirty="0" smtClean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関連</a:t>
                      </a:r>
                      <a:r>
                        <a:rPr lang="en-US" altLang="ja-JP" sz="1400" b="1" kern="1200" dirty="0" smtClean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URL</a:t>
                      </a:r>
                      <a:endParaRPr lang="ja-JP" altLang="en-US" sz="1400" b="1" kern="1200" dirty="0">
                        <a:solidFill>
                          <a:schemeClr val="dk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L="132080" marR="132080" marT="66040" marB="660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ja-JP" altLang="en-US" sz="1400" b="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132080" marR="132080" marT="66040" marB="660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2663509"/>
                  </a:ext>
                </a:extLst>
              </a:tr>
            </a:tbl>
          </a:graphicData>
        </a:graphic>
      </p:graphicFrame>
      <p:pic>
        <p:nvPicPr>
          <p:cNvPr id="7" name="図 6">
            <a:extLst>
              <a:ext uri="{FF2B5EF4-FFF2-40B4-BE49-F238E27FC236}">
                <a16:creationId xmlns:a16="http://schemas.microsoft.com/office/drawing/2014/main" id="{0FE5C36E-88FB-5F46-E95A-88E9DCDFE9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65737" y="1438841"/>
            <a:ext cx="624000" cy="624000"/>
          </a:xfrm>
          <a:prstGeom prst="rect">
            <a:avLst/>
          </a:prstGeom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A003FC36-CF09-C094-3730-47002971D3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01064" y="1434507"/>
            <a:ext cx="624000" cy="624000"/>
          </a:xfrm>
          <a:prstGeom prst="rect">
            <a:avLst/>
          </a:prstGeom>
        </p:spPr>
      </p:pic>
      <p:pic>
        <p:nvPicPr>
          <p:cNvPr id="12" name="図 11">
            <a:extLst>
              <a:ext uri="{FF2B5EF4-FFF2-40B4-BE49-F238E27FC236}">
                <a16:creationId xmlns:a16="http://schemas.microsoft.com/office/drawing/2014/main" id="{18EEF37A-3E02-5FEB-1898-E4064E27DF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25610" y="1436130"/>
            <a:ext cx="624000" cy="624000"/>
          </a:xfrm>
          <a:prstGeom prst="rect">
            <a:avLst/>
          </a:prstGeom>
        </p:spPr>
      </p:pic>
      <p:pic>
        <p:nvPicPr>
          <p:cNvPr id="13" name="図 12">
            <a:extLst>
              <a:ext uri="{FF2B5EF4-FFF2-40B4-BE49-F238E27FC236}">
                <a16:creationId xmlns:a16="http://schemas.microsoft.com/office/drawing/2014/main" id="{34FD835F-4443-EE70-E6B0-060E7E3B04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46859" y="1440085"/>
            <a:ext cx="624000" cy="624000"/>
          </a:xfrm>
          <a:prstGeom prst="rect">
            <a:avLst/>
          </a:prstGeom>
        </p:spPr>
      </p:pic>
      <p:pic>
        <p:nvPicPr>
          <p:cNvPr id="14" name="図 13">
            <a:extLst>
              <a:ext uri="{FF2B5EF4-FFF2-40B4-BE49-F238E27FC236}">
                <a16:creationId xmlns:a16="http://schemas.microsoft.com/office/drawing/2014/main" id="{5F093C15-1DE5-5B8A-1369-F7B9130B66B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70859" y="1440768"/>
            <a:ext cx="624000" cy="624000"/>
          </a:xfrm>
          <a:prstGeom prst="rect">
            <a:avLst/>
          </a:prstGeom>
        </p:spPr>
      </p:pic>
      <p:pic>
        <p:nvPicPr>
          <p:cNvPr id="15" name="図 14">
            <a:extLst>
              <a:ext uri="{FF2B5EF4-FFF2-40B4-BE49-F238E27FC236}">
                <a16:creationId xmlns:a16="http://schemas.microsoft.com/office/drawing/2014/main" id="{7832F007-E6A1-9DE7-A561-97215BBE67F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85213" y="1441634"/>
            <a:ext cx="624000" cy="624000"/>
          </a:xfrm>
          <a:prstGeom prst="rect">
            <a:avLst/>
          </a:prstGeom>
        </p:spPr>
      </p:pic>
      <p:pic>
        <p:nvPicPr>
          <p:cNvPr id="16" name="図 15">
            <a:extLst>
              <a:ext uri="{FF2B5EF4-FFF2-40B4-BE49-F238E27FC236}">
                <a16:creationId xmlns:a16="http://schemas.microsoft.com/office/drawing/2014/main" id="{F6736CF6-920A-A688-8821-8E75F72DDE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49610" y="2061754"/>
            <a:ext cx="624000" cy="624000"/>
          </a:xfrm>
          <a:prstGeom prst="rect">
            <a:avLst/>
          </a:prstGeom>
        </p:spPr>
      </p:pic>
      <p:pic>
        <p:nvPicPr>
          <p:cNvPr id="17" name="図 16">
            <a:extLst>
              <a:ext uri="{FF2B5EF4-FFF2-40B4-BE49-F238E27FC236}">
                <a16:creationId xmlns:a16="http://schemas.microsoft.com/office/drawing/2014/main" id="{31EA3FA5-5B18-B349-F771-037F913BF1E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185698" y="2082461"/>
            <a:ext cx="624000" cy="624000"/>
          </a:xfrm>
          <a:prstGeom prst="rect">
            <a:avLst/>
          </a:prstGeom>
        </p:spPr>
      </p:pic>
      <p:pic>
        <p:nvPicPr>
          <p:cNvPr id="18" name="図 17">
            <a:extLst>
              <a:ext uri="{FF2B5EF4-FFF2-40B4-BE49-F238E27FC236}">
                <a16:creationId xmlns:a16="http://schemas.microsoft.com/office/drawing/2014/main" id="{624B97CD-B8BC-3107-B641-5E4E76516B6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691690" y="2678104"/>
            <a:ext cx="624000" cy="624000"/>
          </a:xfrm>
          <a:prstGeom prst="rect">
            <a:avLst/>
          </a:prstGeom>
        </p:spPr>
      </p:pic>
      <p:pic>
        <p:nvPicPr>
          <p:cNvPr id="19" name="図 18">
            <a:extLst>
              <a:ext uri="{FF2B5EF4-FFF2-40B4-BE49-F238E27FC236}">
                <a16:creationId xmlns:a16="http://schemas.microsoft.com/office/drawing/2014/main" id="{B212718C-EC55-C71E-68EF-8871F23C706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945619" y="2680918"/>
            <a:ext cx="624000" cy="624000"/>
          </a:xfrm>
          <a:prstGeom prst="rect">
            <a:avLst/>
          </a:prstGeom>
        </p:spPr>
      </p:pic>
      <p:pic>
        <p:nvPicPr>
          <p:cNvPr id="20" name="図 19">
            <a:extLst>
              <a:ext uri="{FF2B5EF4-FFF2-40B4-BE49-F238E27FC236}">
                <a16:creationId xmlns:a16="http://schemas.microsoft.com/office/drawing/2014/main" id="{16FE5D6E-C69F-8A4F-2A43-7AA9DC6E919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541580" y="3190848"/>
            <a:ext cx="624000" cy="624000"/>
          </a:xfrm>
          <a:prstGeom prst="rect">
            <a:avLst/>
          </a:prstGeom>
        </p:spPr>
      </p:pic>
      <p:pic>
        <p:nvPicPr>
          <p:cNvPr id="21" name="図 20">
            <a:extLst>
              <a:ext uri="{FF2B5EF4-FFF2-40B4-BE49-F238E27FC236}">
                <a16:creationId xmlns:a16="http://schemas.microsoft.com/office/drawing/2014/main" id="{685DA77B-F111-10D5-1F2B-A15426A027C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071425" y="2052280"/>
            <a:ext cx="624000" cy="624000"/>
          </a:xfrm>
          <a:prstGeom prst="rect">
            <a:avLst/>
          </a:prstGeom>
        </p:spPr>
      </p:pic>
      <p:pic>
        <p:nvPicPr>
          <p:cNvPr id="22" name="図 21">
            <a:extLst>
              <a:ext uri="{FF2B5EF4-FFF2-40B4-BE49-F238E27FC236}">
                <a16:creationId xmlns:a16="http://schemas.microsoft.com/office/drawing/2014/main" id="{DBFB5C00-8E4F-BFEA-75D0-35DC319BFE2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046178" y="3194534"/>
            <a:ext cx="624000" cy="624000"/>
          </a:xfrm>
          <a:prstGeom prst="rect">
            <a:avLst/>
          </a:prstGeom>
        </p:spPr>
      </p:pic>
      <p:pic>
        <p:nvPicPr>
          <p:cNvPr id="23" name="図 22">
            <a:extLst>
              <a:ext uri="{FF2B5EF4-FFF2-40B4-BE49-F238E27FC236}">
                <a16:creationId xmlns:a16="http://schemas.microsoft.com/office/drawing/2014/main" id="{A205C713-58B3-D844-A226-E112DB2E5292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322586" y="2064768"/>
            <a:ext cx="624000" cy="624000"/>
          </a:xfrm>
          <a:prstGeom prst="rect">
            <a:avLst/>
          </a:prstGeom>
        </p:spPr>
      </p:pic>
      <p:pic>
        <p:nvPicPr>
          <p:cNvPr id="24" name="図 23">
            <a:extLst>
              <a:ext uri="{FF2B5EF4-FFF2-40B4-BE49-F238E27FC236}">
                <a16:creationId xmlns:a16="http://schemas.microsoft.com/office/drawing/2014/main" id="{05300648-82D0-4F9C-6189-34B59E9ABB92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793879" y="3190848"/>
            <a:ext cx="624000" cy="624000"/>
          </a:xfrm>
          <a:prstGeom prst="rect">
            <a:avLst/>
          </a:prstGeom>
        </p:spPr>
      </p:pic>
      <p:pic>
        <p:nvPicPr>
          <p:cNvPr id="25" name="図 24">
            <a:extLst>
              <a:ext uri="{FF2B5EF4-FFF2-40B4-BE49-F238E27FC236}">
                <a16:creationId xmlns:a16="http://schemas.microsoft.com/office/drawing/2014/main" id="{3F6265ED-65F2-1938-423F-C705241689DD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077064" y="2676280"/>
            <a:ext cx="624000" cy="624000"/>
          </a:xfrm>
          <a:prstGeom prst="rect">
            <a:avLst/>
          </a:prstGeom>
        </p:spPr>
      </p:pic>
      <p:pic>
        <p:nvPicPr>
          <p:cNvPr id="26" name="図 25">
            <a:extLst>
              <a:ext uri="{FF2B5EF4-FFF2-40B4-BE49-F238E27FC236}">
                <a16:creationId xmlns:a16="http://schemas.microsoft.com/office/drawing/2014/main" id="{A68377BE-3DBD-FDDE-F632-72A5ACCE89F7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320650" y="2676280"/>
            <a:ext cx="624000" cy="624000"/>
          </a:xfrm>
          <a:prstGeom prst="rect">
            <a:avLst/>
          </a:prstGeom>
        </p:spPr>
      </p:pic>
      <p:sp>
        <p:nvSpPr>
          <p:cNvPr id="27" name="テキスト プレースホルダー 4">
            <a:extLst>
              <a:ext uri="{FF2B5EF4-FFF2-40B4-BE49-F238E27FC236}">
                <a16:creationId xmlns:a16="http://schemas.microsoft.com/office/drawing/2014/main" id="{6740BA51-ED12-9398-0D70-8BBF43161487}"/>
              </a:ext>
            </a:extLst>
          </p:cNvPr>
          <p:cNvSpPr txBox="1">
            <a:spLocks/>
          </p:cNvSpPr>
          <p:nvPr/>
        </p:nvSpPr>
        <p:spPr>
          <a:xfrm>
            <a:off x="175797" y="96620"/>
            <a:ext cx="12330860" cy="352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2400" dirty="0"/>
              <a:t>富士山</a:t>
            </a:r>
            <a:r>
              <a:rPr lang="ja-JP" altLang="en-US" sz="2400" dirty="0" smtClean="0"/>
              <a:t>ＳＤＧｓアワード</a:t>
            </a:r>
            <a:r>
              <a:rPr lang="ja-JP" altLang="en-US" sz="2400" dirty="0"/>
              <a:t>取組</a:t>
            </a:r>
            <a:r>
              <a:rPr lang="ja-JP" altLang="en-US" sz="2400" dirty="0" smtClean="0"/>
              <a:t>概要書　　</a:t>
            </a:r>
            <a:r>
              <a:rPr lang="ja-JP" altLang="en-US" sz="2400" dirty="0"/>
              <a:t>　　</a:t>
            </a:r>
            <a:r>
              <a:rPr lang="ja-JP" altLang="en-US" sz="1600" dirty="0" smtClean="0"/>
              <a:t>＜</a:t>
            </a:r>
            <a:r>
              <a:rPr lang="ja-JP" altLang="en-US" sz="1600" dirty="0"/>
              <a:t>様式２＞</a:t>
            </a:r>
          </a:p>
        </p:txBody>
      </p:sp>
      <p:graphicFrame>
        <p:nvGraphicFramePr>
          <p:cNvPr id="4" name="表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4154761"/>
              </p:ext>
            </p:extLst>
          </p:nvPr>
        </p:nvGraphicFramePr>
        <p:xfrm>
          <a:off x="101600" y="4245737"/>
          <a:ext cx="6644640" cy="56286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22320">
                  <a:extLst>
                    <a:ext uri="{9D8B030D-6E8A-4147-A177-3AD203B41FA5}">
                      <a16:colId xmlns:a16="http://schemas.microsoft.com/office/drawing/2014/main" val="3656723103"/>
                    </a:ext>
                  </a:extLst>
                </a:gridCol>
                <a:gridCol w="3322320">
                  <a:extLst>
                    <a:ext uri="{9D8B030D-6E8A-4147-A177-3AD203B41FA5}">
                      <a16:colId xmlns:a16="http://schemas.microsoft.com/office/drawing/2014/main" val="2609256834"/>
                    </a:ext>
                  </a:extLst>
                </a:gridCol>
              </a:tblGrid>
              <a:tr h="253098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1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7.</a:t>
                      </a:r>
                      <a:r>
                        <a:rPr kumimoji="1" lang="ja-JP" altLang="en-US" sz="11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組が開始されたきっかけ・経緯</a:t>
                      </a:r>
                      <a:endParaRPr kumimoji="1" lang="ja-JP" altLang="en-US" sz="11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1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8.</a:t>
                      </a:r>
                      <a:r>
                        <a:rPr kumimoji="1" lang="ja-JP" altLang="en-US" sz="11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申請者・連携団体の役割</a:t>
                      </a:r>
                      <a:endParaRPr kumimoji="1" lang="ja-JP" altLang="en-US" sz="11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7520900"/>
                  </a:ext>
                </a:extLst>
              </a:tr>
              <a:tr h="1875907">
                <a:tc>
                  <a:txBody>
                    <a:bodyPr/>
                    <a:lstStyle/>
                    <a:p>
                      <a:pPr algn="l"/>
                      <a:r>
                        <a:rPr lang="ja-JP" altLang="en-US" sz="1000" b="0" dirty="0" smtClean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　地域の人手不足と、生活リズムに合わせて働きたい市民のニーズが高まっていたことが大きなきっかけです。</a:t>
                      </a:r>
                      <a:br>
                        <a:rPr lang="ja-JP" altLang="en-US" sz="1000" b="0" dirty="0" smtClean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</a:br>
                      <a:r>
                        <a:rPr lang="ja-JP" altLang="en-US" sz="1000" b="0" dirty="0" smtClean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　「短時間で働きたい人」と「必要な時間だけ人手がほしい事業者」をつなぐ仕組みが求められており、市として柔軟な働き方を支えるために立ち上げました。</a:t>
                      </a:r>
                      <a:br>
                        <a:rPr lang="ja-JP" altLang="en-US" sz="1000" b="0" dirty="0" smtClean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</a:br>
                      <a:r>
                        <a:rPr lang="ja-JP" altLang="en-US" sz="1000" b="0" dirty="0" smtClean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　さらに、この仕組みを持続的に機能させるには、事業者・求職者・支援機関など多くのステークホルダーと連携しながら進めることが不可欠であり、その協働体制づくりも導入の大きな動機となりました。</a:t>
                      </a:r>
                      <a:endParaRPr kumimoji="1" lang="ja-JP" altLang="en-US" sz="1000" b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000" b="0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●富士宮市</a:t>
                      </a:r>
                    </a:p>
                    <a:p>
                      <a:pPr algn="l"/>
                      <a:r>
                        <a:rPr kumimoji="1" lang="ja-JP" altLang="en-US" sz="1000" b="0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ービス全体の企画・運営を担い、制度設計や広報、連携体制の構築を主導する役割を果たします。</a:t>
                      </a:r>
                    </a:p>
                    <a:p>
                      <a:pPr algn="l"/>
                      <a:r>
                        <a:rPr kumimoji="1" lang="ja-JP" altLang="en-US" sz="1000" b="0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●富士宮信用金庫</a:t>
                      </a:r>
                    </a:p>
                    <a:p>
                      <a:pPr algn="l"/>
                      <a:r>
                        <a:rPr kumimoji="1" lang="ja-JP" altLang="en-US" sz="1000" b="0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地域金融機関として、事業者とのネットワークを活かし、マッチボックス利用の促進や事業者支援を行います。事業者の経営状況や課題を踏まえ、人材確保に関する相談窓口としての役割も担います。</a:t>
                      </a:r>
                    </a:p>
                    <a:p>
                      <a:pPr algn="l"/>
                      <a:r>
                        <a:rPr kumimoji="1" lang="ja-JP" altLang="en-US" sz="1000" b="0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●富士宮商工会議所、芝川商工会</a:t>
                      </a:r>
                    </a:p>
                    <a:p>
                      <a:pPr algn="l"/>
                      <a:r>
                        <a:rPr kumimoji="1" lang="ja-JP" altLang="en-US" sz="1000" b="0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市内企業との幅広い接点を活かし、事業者側のニーズを吸い上げて仕組みに反映させるほか、説明会への案内など利用促進を後押しします。</a:t>
                      </a:r>
                      <a:endParaRPr kumimoji="1" lang="ja-JP" altLang="en-US" sz="1000" b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5643128"/>
                  </a:ext>
                </a:extLst>
              </a:tr>
              <a:tr h="253098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1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9.</a:t>
                      </a:r>
                      <a:r>
                        <a:rPr kumimoji="1" lang="ja-JP" altLang="en-US" sz="11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組内容</a:t>
                      </a:r>
                      <a:endParaRPr kumimoji="1" lang="en-US" altLang="ja-JP" sz="1100" b="1" dirty="0" smtClean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1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0.</a:t>
                      </a:r>
                      <a:r>
                        <a:rPr kumimoji="1" lang="ja-JP" altLang="en-US" sz="11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社会的インパクト</a:t>
                      </a:r>
                      <a:r>
                        <a:rPr kumimoji="1" lang="en-US" altLang="ja-JP" sz="11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kumimoji="1" lang="ja-JP" altLang="en-US" sz="11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効果・社会等への影響など）</a:t>
                      </a:r>
                      <a:endParaRPr kumimoji="1" lang="ja-JP" altLang="en-US" sz="11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9800991"/>
                  </a:ext>
                </a:extLst>
              </a:tr>
              <a:tr h="1578144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kumimoji="1" lang="ja-JP" altLang="en-US" sz="1000" b="0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●事業者への周知・利用促進</a:t>
                      </a:r>
                      <a:endParaRPr kumimoji="1" lang="en-US" altLang="ja-JP" sz="1000" b="0" dirty="0" smtClean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indent="0" algn="l">
                        <a:buNone/>
                      </a:pPr>
                      <a:r>
                        <a:rPr kumimoji="1" lang="ja-JP" altLang="en-US" sz="1000" b="0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　</a:t>
                      </a:r>
                      <a:r>
                        <a:rPr kumimoji="1" lang="en-US" altLang="ja-JP" sz="1000" b="0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</a:t>
                      </a:r>
                      <a:r>
                        <a:rPr kumimoji="1" lang="ja-JP" altLang="en-US" sz="1000" b="0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者それぞれのネットワークを活かし、富士宮マッチボックスの仕組み・メリットを広く事業者へ周知しました。また、人手不足に悩む事業者を説明会へ誘導するなど、複数の接点を通じて利用を促進しました。</a:t>
                      </a:r>
                    </a:p>
                    <a:p>
                      <a:pPr algn="l"/>
                      <a:r>
                        <a:rPr kumimoji="1" lang="ja-JP" altLang="en-US" sz="1000" b="0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●求職者への周知</a:t>
                      </a:r>
                    </a:p>
                    <a:p>
                      <a:pPr algn="l"/>
                      <a:r>
                        <a:rPr kumimoji="1" lang="ja-JP" altLang="en-US" sz="1000" b="0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市内の公共施設、富士宮信用金庫の各支店、商工会議所や商工会へポスターやチラシを設置し、求職者への効果的な周知を図りました。</a:t>
                      </a:r>
                      <a:endParaRPr kumimoji="1" lang="ja-JP" altLang="en-US" sz="1000" b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000" b="0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●働きたい市民が働く一歩を踏み出しやすくなる</a:t>
                      </a:r>
                    </a:p>
                    <a:p>
                      <a:pPr algn="l"/>
                      <a:r>
                        <a:rPr kumimoji="1" lang="ja-JP" altLang="en-US" sz="1000" b="0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　短時間・短期から始められるため、子育て中、ブランクがある、働くことに不安があるなど、多様な状況の方が無理なく就労に参加できるようになります。</a:t>
                      </a:r>
                      <a:endParaRPr kumimoji="1" lang="en-US" altLang="ja-JP" sz="1000" b="0" dirty="0" smtClean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algn="l"/>
                      <a:r>
                        <a:rPr kumimoji="1" lang="ja-JP" altLang="en-US" sz="1000" b="0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●地域の人手不足の解消に寄与する</a:t>
                      </a:r>
                    </a:p>
                    <a:p>
                      <a:pPr algn="l"/>
                      <a:r>
                        <a:rPr kumimoji="1" lang="ja-JP" altLang="en-US" sz="1000" b="0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　事業者が必要な時間・必要な日だけ人材を確保できるため、突発的な欠員や繁忙期の負担軽減につながります。</a:t>
                      </a:r>
                    </a:p>
                    <a:p>
                      <a:pPr algn="l"/>
                      <a:r>
                        <a:rPr kumimoji="1" lang="ja-JP" altLang="en-US" sz="1000" b="0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●スポットワークから長期雇用への移行が進む</a:t>
                      </a:r>
                    </a:p>
                    <a:p>
                      <a:pPr algn="l"/>
                      <a:r>
                        <a:rPr kumimoji="1" lang="ja-JP" altLang="en-US" sz="1000" b="0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　短い就労経験を通じて職場理解が深まり、ミスマッチを減らしながら、安定した雇用につながるケースを生み出します。</a:t>
                      </a:r>
                      <a:endParaRPr kumimoji="1" lang="ja-JP" altLang="en-US" sz="1000" b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1201340"/>
                  </a:ext>
                </a:extLst>
              </a:tr>
              <a:tr h="253098"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11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1.</a:t>
                      </a:r>
                      <a:r>
                        <a:rPr kumimoji="1" lang="ja-JP" altLang="en-US" sz="1100" b="1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活動の写真など</a:t>
                      </a:r>
                      <a:endParaRPr kumimoji="1" lang="ja-JP" altLang="en-US" sz="11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1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6004602"/>
                  </a:ext>
                </a:extLst>
              </a:tr>
              <a:tr h="1315721">
                <a:tc gridSpan="2">
                  <a:txBody>
                    <a:bodyPr/>
                    <a:lstStyle/>
                    <a:p>
                      <a:pPr algn="ctr"/>
                      <a:endParaRPr kumimoji="1" lang="ja-JP" altLang="en-US" sz="11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1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365319"/>
                  </a:ext>
                </a:extLst>
              </a:tr>
            </a:tbl>
          </a:graphicData>
        </a:graphic>
      </p:graphicFrame>
      <p:sp>
        <p:nvSpPr>
          <p:cNvPr id="2" name="楕円 1"/>
          <p:cNvSpPr/>
          <p:nvPr/>
        </p:nvSpPr>
        <p:spPr>
          <a:xfrm>
            <a:off x="2914101" y="1138597"/>
            <a:ext cx="1307939" cy="393539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kumimoji="1" lang="ja-JP" altLang="en-US" sz="1400" dirty="0" smtClean="0">
              <a:solidFill>
                <a:schemeClr val="tx1"/>
              </a:solidFill>
            </a:endParaRPr>
          </a:p>
        </p:txBody>
      </p:sp>
      <p:pic>
        <p:nvPicPr>
          <p:cNvPr id="5" name="図 4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7253" y="8606392"/>
            <a:ext cx="1656832" cy="1242624"/>
          </a:xfrm>
          <a:prstGeom prst="rect">
            <a:avLst/>
          </a:prstGeom>
        </p:spPr>
      </p:pic>
      <p:pic>
        <p:nvPicPr>
          <p:cNvPr id="6" name="図 5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1580" y="8606392"/>
            <a:ext cx="1656000" cy="1242000"/>
          </a:xfrm>
          <a:prstGeom prst="rect">
            <a:avLst/>
          </a:prstGeom>
        </p:spPr>
      </p:pic>
      <p:sp>
        <p:nvSpPr>
          <p:cNvPr id="28" name="テキスト プレースホルダー 4">
            <a:extLst>
              <a:ext uri="{FF2B5EF4-FFF2-40B4-BE49-F238E27FC236}">
                <a16:creationId xmlns:a16="http://schemas.microsoft.com/office/drawing/2014/main" id="{6740BA51-ED12-9398-0D70-8BBF43161487}"/>
              </a:ext>
            </a:extLst>
          </p:cNvPr>
          <p:cNvSpPr txBox="1">
            <a:spLocks/>
          </p:cNvSpPr>
          <p:nvPr/>
        </p:nvSpPr>
        <p:spPr>
          <a:xfrm>
            <a:off x="4958134" y="167307"/>
            <a:ext cx="724309" cy="28164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1600" dirty="0" smtClean="0">
                <a:solidFill>
                  <a:srgbClr val="FF0000"/>
                </a:solidFill>
              </a:rPr>
              <a:t>記入例</a:t>
            </a:r>
            <a:endParaRPr lang="ja-JP" altLang="en-U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2241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wC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ユーザー定義 11">
      <a:majorFont>
        <a:latin typeface="Georgia"/>
        <a:ea typeface="HGP明朝B"/>
        <a:cs typeface=""/>
      </a:majorFont>
      <a:minorFont>
        <a:latin typeface="Arial"/>
        <a:ea typeface="ＭＳ Ｐゴシック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tlCol="0" anchor="ctr"/>
      <a:lstStyle>
        <a:defPPr algn="ctr">
          <a:lnSpc>
            <a:spcPct val="100000"/>
          </a:lnSpc>
          <a:defRPr kumimoji="1" sz="1400" dirty="0" smtClean="0">
            <a:solidFill>
              <a:schemeClr val="tx1"/>
            </a:solidFill>
          </a:defRPr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l">
          <a:defRPr kumimoji="1" sz="1400" b="0" smtClean="0">
            <a:solidFill>
              <a:schemeClr val="tx1"/>
            </a:solidFill>
          </a:defRPr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resentation1" id="{CCF45EB7-F9DF-47C5-AB85-48BC232BEAA9}" vid="{DFCB562E-E06E-4428-B9BF-980ED610BD28}"/>
    </a:ext>
  </a:extLst>
</a:theme>
</file>

<file path=ppt/theme/theme2.xml><?xml version="1.0" encoding="utf-8"?>
<a:theme xmlns:a="http://schemas.openxmlformats.org/drawingml/2006/main" name="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5baf6f3-037f-47c4-8ce6-401f2145fe42">
      <Terms xmlns="http://schemas.microsoft.com/office/infopath/2007/PartnerControls"/>
    </lcf76f155ced4ddcb4097134ff3c332f>
    <TaxCatchAll xmlns="5f1cb31e-0878-4583-824f-77bbdf5ced5f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A710B91F3F4C8741B4980356BA13F24F" ma:contentTypeVersion="12" ma:contentTypeDescription="新しいドキュメントを作成します。" ma:contentTypeScope="" ma:versionID="f1890ae3bf7e744b05b08a520f64cf77">
  <xsd:schema xmlns:xsd="http://www.w3.org/2001/XMLSchema" xmlns:xs="http://www.w3.org/2001/XMLSchema" xmlns:p="http://schemas.microsoft.com/office/2006/metadata/properties" xmlns:ns2="15baf6f3-037f-47c4-8ce6-401f2145fe42" xmlns:ns3="5f1cb31e-0878-4583-824f-77bbdf5ced5f" targetNamespace="http://schemas.microsoft.com/office/2006/metadata/properties" ma:root="true" ma:fieldsID="bfcbc1ab147c9023ac1c2c0d34f29e13" ns2:_="" ns3:_="">
    <xsd:import namespace="15baf6f3-037f-47c4-8ce6-401f2145fe42"/>
    <xsd:import namespace="5f1cb31e-0878-4583-824f-77bbdf5ced5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baf6f3-037f-47c4-8ce6-401f2145fe4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4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画像タグ" ma:readOnly="false" ma:fieldId="{5cf76f15-5ced-4ddc-b409-7134ff3c332f}" ma:taxonomyMulti="true" ma:sspId="1e1c6816-2a4f-4461-93c7-8dd281d6228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1cb31e-0878-4583-824f-77bbdf5ced5f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ada75fde-06fd-4f09-8d13-58ff50df841a}" ma:internalName="TaxCatchAll" ma:showField="CatchAllData" ma:web="5f1cb31e-0878-4583-824f-77bbdf5ced5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0180633-03E3-40B4-B06F-C40EFB9E2519}">
  <ds:schemaRefs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5f1cb31e-0878-4583-824f-77bbdf5ced5f"/>
    <ds:schemaRef ds:uri="http://purl.org/dc/elements/1.1/"/>
    <ds:schemaRef ds:uri="15baf6f3-037f-47c4-8ce6-401f2145fe42"/>
    <ds:schemaRef ds:uri="http://purl.org/dc/terms/"/>
    <ds:schemaRef ds:uri="http://schemas.openxmlformats.org/package/2006/metadata/core-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7B88C6E-173E-4A69-A9AD-34705C07D55E}">
  <ds:schemaRefs>
    <ds:schemaRef ds:uri="15baf6f3-037f-47c4-8ce6-401f2145fe42"/>
    <ds:schemaRef ds:uri="5f1cb31e-0878-4583-824f-77bbdf5ced5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DCC2495-8A4F-4BA0-A19C-91B77DC5E78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57</TotalTime>
  <Words>668</Words>
  <Application>Microsoft Office PowerPoint</Application>
  <PresentationFormat>A4 210 x 297 mm</PresentationFormat>
  <Paragraphs>61</Paragraphs>
  <Slides>2</Slides>
  <Notes>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8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3" baseType="lpstr">
      <vt:lpstr>HGP明朝B</vt:lpstr>
      <vt:lpstr>Meiryo UI</vt:lpstr>
      <vt:lpstr>ＭＳ Ｐゴシック</vt:lpstr>
      <vt:lpstr>游ゴシック</vt:lpstr>
      <vt:lpstr>游ゴシック Light</vt:lpstr>
      <vt:lpstr>Arial</vt:lpstr>
      <vt:lpstr>Georgia</vt:lpstr>
      <vt:lpstr>Wingdings</vt:lpstr>
      <vt:lpstr>PwC</vt:lpstr>
      <vt:lpstr>デザインの設定</vt:lpstr>
      <vt:lpstr>think-cell スライド</vt:lpstr>
      <vt:lpstr>PowerPoint プレゼンテーション</vt:lpstr>
      <vt:lpstr>PowerPoint プレゼンテーション</vt:lpstr>
    </vt:vector>
  </TitlesOfParts>
  <Company>内閣府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佐々木 琢磨（デジ田会議事務局）</dc:creator>
  <cp:lastModifiedBy>遠藤　裕司</cp:lastModifiedBy>
  <cp:revision>52</cp:revision>
  <cp:lastPrinted>2025-12-02T04:10:32Z</cp:lastPrinted>
  <dcterms:created xsi:type="dcterms:W3CDTF">2023-11-01T11:03:49Z</dcterms:created>
  <dcterms:modified xsi:type="dcterms:W3CDTF">2025-12-12T04:52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710B91F3F4C8741B4980356BA13F24F</vt:lpwstr>
  </property>
  <property fmtid="{D5CDD505-2E9C-101B-9397-08002B2CF9AE}" pid="3" name="MediaServiceImageTags">
    <vt:lpwstr/>
  </property>
</Properties>
</file>